
<file path=[Content_Types].xml><?xml version="1.0" encoding="utf-8"?>
<Types xmlns="http://schemas.openxmlformats.org/package/2006/content-types">
  <Default Extension="emf" ContentType="image/x-emf"/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tmp" ContentType="image/png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2.xml" ContentType="application/vnd.openxmlformats-officedocument.theme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heme/themeOverride1.xml" ContentType="application/vnd.openxmlformats-officedocument.themeOverr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notesSlides/notesSlide12.xml" ContentType="application/vnd.openxmlformats-officedocument.presentationml.notesSlide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notesSlides/notesSlide13.xml" ContentType="application/vnd.openxmlformats-officedocument.presentationml.notesSlide+xml"/>
  <Override PartName="/ppt/charts/chart7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charts/chart8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notesSlides/notesSlide20.xml" ContentType="application/vnd.openxmlformats-officedocument.presentationml.notesSlide+xml"/>
  <Override PartName="/ppt/charts/chart9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notesSlides/notesSlide21.xml" ContentType="application/vnd.openxmlformats-officedocument.presentationml.notesSlide+xml"/>
  <Override PartName="/ppt/charts/chart10.xml" ContentType="application/vnd.openxmlformats-officedocument.drawingml.chart+xml"/>
  <Override PartName="/ppt/charts/style10.xml" ContentType="application/vnd.ms-office.chartstyle+xml"/>
  <Override PartName="/ppt/charts/colors10.xml" ContentType="application/vnd.ms-office.chartcolorstyl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charts/chart11.xml" ContentType="application/vnd.openxmlformats-officedocument.drawingml.chart+xml"/>
  <Override PartName="/ppt/charts/style11.xml" ContentType="application/vnd.ms-office.chartstyle+xml"/>
  <Override PartName="/ppt/charts/colors11.xml" ContentType="application/vnd.ms-office.chartcolorstyle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notesSlides/notesSlide22.xml" ContentType="application/vnd.openxmlformats-officedocument.presentationml.notesSlide+xml"/>
  <Override PartName="/ppt/charts/chart12.xml" ContentType="application/vnd.openxmlformats-officedocument.drawingml.chart+xml"/>
  <Override PartName="/ppt/charts/style12.xml" ContentType="application/vnd.ms-office.chartstyle+xml"/>
  <Override PartName="/ppt/charts/colors12.xml" ContentType="application/vnd.ms-office.chartcolorstyle+xml"/>
  <Override PartName="/ppt/charts/chart13.xml" ContentType="application/vnd.openxmlformats-officedocument.drawingml.chart+xml"/>
  <Override PartName="/ppt/charts/style13.xml" ContentType="application/vnd.ms-office.chartstyle+xml"/>
  <Override PartName="/ppt/charts/colors13.xml" ContentType="application/vnd.ms-office.chartcolorstyle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charts/chart14.xml" ContentType="application/vnd.openxmlformats-officedocument.drawingml.chart+xml"/>
  <Override PartName="/ppt/charts/style14.xml" ContentType="application/vnd.ms-office.chartstyle+xml"/>
  <Override PartName="/ppt/charts/colors14.xml" ContentType="application/vnd.ms-office.chartcolorstyle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notesSlides/notesSlide23.xml" ContentType="application/vnd.openxmlformats-officedocument.presentationml.notesSlide+xml"/>
  <Override PartName="/ppt/charts/chart15.xml" ContentType="application/vnd.openxmlformats-officedocument.drawingml.chart+xml"/>
  <Override PartName="/ppt/charts/style15.xml" ContentType="application/vnd.ms-office.chartstyle+xml"/>
  <Override PartName="/ppt/charts/colors15.xml" ContentType="application/vnd.ms-office.chartcolorstyle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charts/chart16.xml" ContentType="application/vnd.openxmlformats-officedocument.drawingml.chart+xml"/>
  <Override PartName="/ppt/charts/style16.xml" ContentType="application/vnd.ms-office.chartstyle+xml"/>
  <Override PartName="/ppt/charts/colors16.xml" ContentType="application/vnd.ms-office.chartcolorstyle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notesSlides/notesSlide24.xml" ContentType="application/vnd.openxmlformats-officedocument.presentationml.notesSlide+xml"/>
  <Override PartName="/ppt/charts/chart17.xml" ContentType="application/vnd.openxmlformats-officedocument.drawingml.chart+xml"/>
  <Override PartName="/ppt/charts/style17.xml" ContentType="application/vnd.ms-office.chartstyle+xml"/>
  <Override PartName="/ppt/charts/colors17.xml" ContentType="application/vnd.ms-office.chartcolorstyl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charts/chart18.xml" ContentType="application/vnd.openxmlformats-officedocument.drawingml.chart+xml"/>
  <Override PartName="/ppt/charts/style18.xml" ContentType="application/vnd.ms-office.chartstyle+xml"/>
  <Override PartName="/ppt/charts/colors18.xml" ContentType="application/vnd.ms-office.chartcolorstyle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notesSlides/notesSlide27.xml" ContentType="application/vnd.openxmlformats-officedocument.presentationml.notesSlide+xml"/>
  <Override PartName="/ppt/charts/chart19.xml" ContentType="application/vnd.openxmlformats-officedocument.drawingml.chart+xml"/>
  <Override PartName="/ppt/charts/style19.xml" ContentType="application/vnd.ms-office.chartstyle+xml"/>
  <Override PartName="/ppt/charts/colors19.xml" ContentType="application/vnd.ms-office.chartcolorstyle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charts/chart20.xml" ContentType="application/vnd.openxmlformats-officedocument.drawingml.chart+xml"/>
  <Override PartName="/ppt/charts/style20.xml" ContentType="application/vnd.ms-office.chartstyle+xml"/>
  <Override PartName="/ppt/charts/colors20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embedTrueTypeFonts="1">
  <p:sldMasterIdLst>
    <p:sldMasterId id="2147483648" r:id="rId1"/>
    <p:sldMasterId id="2147483673" r:id="rId2"/>
    <p:sldMasterId id="2147483687" r:id="rId3"/>
  </p:sldMasterIdLst>
  <p:notesMasterIdLst>
    <p:notesMasterId r:id="rId42"/>
  </p:notesMasterIdLst>
  <p:sldIdLst>
    <p:sldId id="1722" r:id="rId4"/>
    <p:sldId id="4642" r:id="rId5"/>
    <p:sldId id="1731" r:id="rId6"/>
    <p:sldId id="1635" r:id="rId7"/>
    <p:sldId id="2260" r:id="rId8"/>
    <p:sldId id="4854" r:id="rId9"/>
    <p:sldId id="2244" r:id="rId10"/>
    <p:sldId id="4630" r:id="rId11"/>
    <p:sldId id="4631" r:id="rId12"/>
    <p:sldId id="1726" r:id="rId13"/>
    <p:sldId id="4627" r:id="rId14"/>
    <p:sldId id="1728" r:id="rId15"/>
    <p:sldId id="4855" r:id="rId16"/>
    <p:sldId id="4856" r:id="rId17"/>
    <p:sldId id="2265" r:id="rId18"/>
    <p:sldId id="2263" r:id="rId19"/>
    <p:sldId id="4671" r:id="rId20"/>
    <p:sldId id="2272" r:id="rId21"/>
    <p:sldId id="2274" r:id="rId22"/>
    <p:sldId id="2276" r:id="rId23"/>
    <p:sldId id="4643" r:id="rId24"/>
    <p:sldId id="4858" r:id="rId25"/>
    <p:sldId id="4859" r:id="rId26"/>
    <p:sldId id="4681" r:id="rId27"/>
    <p:sldId id="4682" r:id="rId28"/>
    <p:sldId id="4683" r:id="rId29"/>
    <p:sldId id="4684" r:id="rId30"/>
    <p:sldId id="4685" r:id="rId31"/>
    <p:sldId id="4686" r:id="rId32"/>
    <p:sldId id="4687" r:id="rId33"/>
    <p:sldId id="1171" r:id="rId34"/>
    <p:sldId id="1483" r:id="rId35"/>
    <p:sldId id="2388" r:id="rId36"/>
    <p:sldId id="4819" r:id="rId37"/>
    <p:sldId id="4820" r:id="rId38"/>
    <p:sldId id="4589" r:id="rId39"/>
    <p:sldId id="1480" r:id="rId40"/>
    <p:sldId id="4821" r:id="rId41"/>
  </p:sldIdLst>
  <p:sldSz cx="12192000" cy="6858000"/>
  <p:notesSz cx="6858000" cy="9144000"/>
  <p:embeddedFontLst>
    <p:embeddedFont>
      <p:font typeface="Calibri" panose="020F0502020204030204" pitchFamily="34" charset="0"/>
      <p:regular r:id="rId43"/>
      <p:bold r:id="rId44"/>
      <p:italic r:id="rId45"/>
      <p:boldItalic r:id="rId46"/>
    </p:embeddedFont>
    <p:embeddedFont>
      <p:font typeface="Calibri Light" panose="020F0302020204030204" pitchFamily="34" charset="0"/>
      <p:regular r:id="rId47"/>
      <p:italic r:id="rId48"/>
    </p:embeddedFont>
  </p:embeddedFontLst>
  <p:custDataLst>
    <p:tags r:id="rId49"/>
  </p:custDataLst>
  <p:defaultTextStyle>
    <a:defPPr>
      <a:defRPr lang="cs-CZ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867" userDrawn="1">
          <p15:clr>
            <a:srgbClr val="A4A3A4"/>
          </p15:clr>
        </p15:guide>
        <p15:guide id="2" pos="438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C000"/>
    <a:srgbClr val="FF00FF"/>
    <a:srgbClr val="00FF00"/>
    <a:srgbClr val="0000FF"/>
    <a:srgbClr val="000000"/>
    <a:srgbClr val="F3D9DC"/>
    <a:srgbClr val="EFCCCF"/>
    <a:srgbClr val="FFFFFF"/>
    <a:srgbClr val="F7E7E9"/>
    <a:srgbClr val="B0C2E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řední styl 2 – zvýraznění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Bez stylu, mřížka tabulky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073A0DAA-6AF3-43AB-8588-CEC1D06C72B9}" styleName="Střední styl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616DA210-FB5B-4158-B5E0-FEB733F419BA}" styleName="Světlý styl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2D5ABB26-0587-4C30-8999-92F81FD0307C}" styleName="Bez stylu, bez mřížky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2696" autoAdjust="0"/>
    <p:restoredTop sz="96327" autoAdjust="0"/>
  </p:normalViewPr>
  <p:slideViewPr>
    <p:cSldViewPr snapToGrid="0">
      <p:cViewPr varScale="1">
        <p:scale>
          <a:sx n="104" d="100"/>
          <a:sy n="104" d="100"/>
        </p:scale>
        <p:origin x="294" y="102"/>
      </p:cViewPr>
      <p:guideLst>
        <p:guide orient="horz" pos="867"/>
        <p:guide pos="438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66" d="100"/>
        <a:sy n="66" d="100"/>
      </p:scale>
      <p:origin x="0" y="-2148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26" Type="http://schemas.openxmlformats.org/officeDocument/2006/relationships/slide" Target="slides/slide23.xml"/><Relationship Id="rId39" Type="http://schemas.openxmlformats.org/officeDocument/2006/relationships/slide" Target="slides/slide36.xml"/><Relationship Id="rId21" Type="http://schemas.openxmlformats.org/officeDocument/2006/relationships/slide" Target="slides/slide18.xml"/><Relationship Id="rId34" Type="http://schemas.openxmlformats.org/officeDocument/2006/relationships/slide" Target="slides/slide31.xml"/><Relationship Id="rId42" Type="http://schemas.openxmlformats.org/officeDocument/2006/relationships/notesMaster" Target="notesMasters/notesMaster1.xml"/><Relationship Id="rId47" Type="http://schemas.openxmlformats.org/officeDocument/2006/relationships/font" Target="fonts/font5.fntdata"/><Relationship Id="rId50" Type="http://schemas.openxmlformats.org/officeDocument/2006/relationships/presProps" Target="presProps.xml"/><Relationship Id="rId7" Type="http://schemas.openxmlformats.org/officeDocument/2006/relationships/slide" Target="slides/slide4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9" Type="http://schemas.openxmlformats.org/officeDocument/2006/relationships/slide" Target="slides/slide26.xml"/><Relationship Id="rId11" Type="http://schemas.openxmlformats.org/officeDocument/2006/relationships/slide" Target="slides/slide8.xml"/><Relationship Id="rId24" Type="http://schemas.openxmlformats.org/officeDocument/2006/relationships/slide" Target="slides/slide21.xml"/><Relationship Id="rId32" Type="http://schemas.openxmlformats.org/officeDocument/2006/relationships/slide" Target="slides/slide29.xml"/><Relationship Id="rId37" Type="http://schemas.openxmlformats.org/officeDocument/2006/relationships/slide" Target="slides/slide34.xml"/><Relationship Id="rId40" Type="http://schemas.openxmlformats.org/officeDocument/2006/relationships/slide" Target="slides/slide37.xml"/><Relationship Id="rId45" Type="http://schemas.openxmlformats.org/officeDocument/2006/relationships/font" Target="fonts/font3.fntdata"/><Relationship Id="rId53" Type="http://schemas.openxmlformats.org/officeDocument/2006/relationships/tableStyles" Target="tableStyles.xml"/><Relationship Id="rId5" Type="http://schemas.openxmlformats.org/officeDocument/2006/relationships/slide" Target="slides/slide2.xml"/><Relationship Id="rId10" Type="http://schemas.openxmlformats.org/officeDocument/2006/relationships/slide" Target="slides/slide7.xml"/><Relationship Id="rId19" Type="http://schemas.openxmlformats.org/officeDocument/2006/relationships/slide" Target="slides/slide16.xml"/><Relationship Id="rId31" Type="http://schemas.openxmlformats.org/officeDocument/2006/relationships/slide" Target="slides/slide28.xml"/><Relationship Id="rId44" Type="http://schemas.openxmlformats.org/officeDocument/2006/relationships/font" Target="fonts/font2.fntdata"/><Relationship Id="rId52" Type="http://schemas.openxmlformats.org/officeDocument/2006/relationships/theme" Target="theme/theme1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slide" Target="slides/slide19.xml"/><Relationship Id="rId27" Type="http://schemas.openxmlformats.org/officeDocument/2006/relationships/slide" Target="slides/slide24.xml"/><Relationship Id="rId30" Type="http://schemas.openxmlformats.org/officeDocument/2006/relationships/slide" Target="slides/slide27.xml"/><Relationship Id="rId35" Type="http://schemas.openxmlformats.org/officeDocument/2006/relationships/slide" Target="slides/slide32.xml"/><Relationship Id="rId43" Type="http://schemas.openxmlformats.org/officeDocument/2006/relationships/font" Target="fonts/font1.fntdata"/><Relationship Id="rId48" Type="http://schemas.openxmlformats.org/officeDocument/2006/relationships/font" Target="fonts/font6.fntdata"/><Relationship Id="rId8" Type="http://schemas.openxmlformats.org/officeDocument/2006/relationships/slide" Target="slides/slide5.xml"/><Relationship Id="rId51" Type="http://schemas.openxmlformats.org/officeDocument/2006/relationships/viewProps" Target="viewProps.xml"/><Relationship Id="rId3" Type="http://schemas.openxmlformats.org/officeDocument/2006/relationships/slideMaster" Target="slideMasters/slideMaster3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slide" Target="slides/slide22.xml"/><Relationship Id="rId33" Type="http://schemas.openxmlformats.org/officeDocument/2006/relationships/slide" Target="slides/slide30.xml"/><Relationship Id="rId38" Type="http://schemas.openxmlformats.org/officeDocument/2006/relationships/slide" Target="slides/slide35.xml"/><Relationship Id="rId46" Type="http://schemas.openxmlformats.org/officeDocument/2006/relationships/font" Target="fonts/font4.fntdata"/><Relationship Id="rId20" Type="http://schemas.openxmlformats.org/officeDocument/2006/relationships/slide" Target="slides/slide17.xml"/><Relationship Id="rId41" Type="http://schemas.openxmlformats.org/officeDocument/2006/relationships/slide" Target="slides/slide3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5" Type="http://schemas.openxmlformats.org/officeDocument/2006/relationships/slide" Target="slides/slide12.xml"/><Relationship Id="rId23" Type="http://schemas.openxmlformats.org/officeDocument/2006/relationships/slide" Target="slides/slide20.xml"/><Relationship Id="rId28" Type="http://schemas.openxmlformats.org/officeDocument/2006/relationships/slide" Target="slides/slide25.xml"/><Relationship Id="rId36" Type="http://schemas.openxmlformats.org/officeDocument/2006/relationships/slide" Target="slides/slide33.xml"/><Relationship Id="rId49" Type="http://schemas.openxmlformats.org/officeDocument/2006/relationships/tags" Target="tags/tag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.xml"/><Relationship Id="rId2" Type="http://schemas.microsoft.com/office/2011/relationships/chartColorStyle" Target="colors1.xml"/><Relationship Id="rId1" Type="http://schemas.microsoft.com/office/2011/relationships/chartStyle" Target="style1.xml"/><Relationship Id="rId4" Type="http://schemas.openxmlformats.org/officeDocument/2006/relationships/package" Target="../embeddings/Microsoft_Excel_Worksheet.xlsx"/></Relationships>
</file>

<file path=ppt/charts/_rels/chart1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9.xlsx"/><Relationship Id="rId2" Type="http://schemas.microsoft.com/office/2011/relationships/chartColorStyle" Target="colors10.xml"/><Relationship Id="rId1" Type="http://schemas.microsoft.com/office/2011/relationships/chartStyle" Target="style10.xml"/></Relationships>
</file>

<file path=ppt/charts/_rels/chart1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0.xlsx"/><Relationship Id="rId2" Type="http://schemas.microsoft.com/office/2011/relationships/chartColorStyle" Target="colors11.xml"/><Relationship Id="rId1" Type="http://schemas.microsoft.com/office/2011/relationships/chartStyle" Target="style11.xml"/></Relationships>
</file>

<file path=ppt/charts/_rels/chart1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1.xlsx"/><Relationship Id="rId2" Type="http://schemas.microsoft.com/office/2011/relationships/chartColorStyle" Target="colors12.xml"/><Relationship Id="rId1" Type="http://schemas.microsoft.com/office/2011/relationships/chartStyle" Target="style12.xml"/></Relationships>
</file>

<file path=ppt/charts/_rels/chart1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2.xlsx"/><Relationship Id="rId2" Type="http://schemas.microsoft.com/office/2011/relationships/chartColorStyle" Target="colors13.xml"/><Relationship Id="rId1" Type="http://schemas.microsoft.com/office/2011/relationships/chartStyle" Target="style13.xml"/></Relationships>
</file>

<file path=ppt/charts/_rels/chart1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3.xlsx"/><Relationship Id="rId2" Type="http://schemas.microsoft.com/office/2011/relationships/chartColorStyle" Target="colors14.xml"/><Relationship Id="rId1" Type="http://schemas.microsoft.com/office/2011/relationships/chartStyle" Target="style14.xml"/></Relationships>
</file>

<file path=ppt/charts/_rels/chart1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4.xlsx"/><Relationship Id="rId2" Type="http://schemas.microsoft.com/office/2011/relationships/chartColorStyle" Target="colors15.xml"/><Relationship Id="rId1" Type="http://schemas.microsoft.com/office/2011/relationships/chartStyle" Target="style15.xml"/></Relationships>
</file>

<file path=ppt/charts/_rels/chart1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5.xlsx"/><Relationship Id="rId2" Type="http://schemas.microsoft.com/office/2011/relationships/chartColorStyle" Target="colors16.xml"/><Relationship Id="rId1" Type="http://schemas.microsoft.com/office/2011/relationships/chartStyle" Target="style16.xml"/></Relationships>
</file>

<file path=ppt/charts/_rels/chart1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6.xlsx"/><Relationship Id="rId2" Type="http://schemas.microsoft.com/office/2011/relationships/chartColorStyle" Target="colors17.xml"/><Relationship Id="rId1" Type="http://schemas.microsoft.com/office/2011/relationships/chartStyle" Target="style17.xml"/></Relationships>
</file>

<file path=ppt/charts/_rels/chart1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7.xlsx"/><Relationship Id="rId2" Type="http://schemas.microsoft.com/office/2011/relationships/chartColorStyle" Target="colors18.xml"/><Relationship Id="rId1" Type="http://schemas.microsoft.com/office/2011/relationships/chartStyle" Target="style18.xml"/></Relationships>
</file>

<file path=ppt/charts/_rels/chart1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8.xlsx"/><Relationship Id="rId2" Type="http://schemas.microsoft.com/office/2011/relationships/chartColorStyle" Target="colors19.xml"/><Relationship Id="rId1" Type="http://schemas.microsoft.com/office/2011/relationships/chartStyle" Target="style19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2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9.xlsx"/><Relationship Id="rId2" Type="http://schemas.microsoft.com/office/2011/relationships/chartColorStyle" Target="colors20.xml"/><Relationship Id="rId1" Type="http://schemas.microsoft.com/office/2011/relationships/chartStyle" Target="style20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.xlsx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5.xlsx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6.xlsx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7.xlsx"/><Relationship Id="rId2" Type="http://schemas.microsoft.com/office/2011/relationships/chartColorStyle" Target="colors8.xml"/><Relationship Id="rId1" Type="http://schemas.microsoft.com/office/2011/relationships/chartStyle" Target="style8.xml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8.xlsx"/><Relationship Id="rId2" Type="http://schemas.microsoft.com/office/2011/relationships/chartColorStyle" Target="colors9.xml"/><Relationship Id="rId1" Type="http://schemas.microsoft.com/office/2011/relationships/chartStyle" Target="style9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6315185741682282E-2"/>
          <c:y val="2.6417447585936279E-2"/>
          <c:w val="0.76661183243453179"/>
          <c:h val="0.87026380483546251"/>
        </c:manualLayout>
      </c:layout>
      <c:lineChart>
        <c:grouping val="standar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ZP celkem</c:v>
                </c:pt>
              </c:strCache>
            </c:strRef>
          </c:tx>
          <c:spPr>
            <a:ln w="28575" cap="rnd">
              <a:solidFill>
                <a:srgbClr val="000000"/>
              </a:solidFill>
              <a:round/>
            </a:ln>
            <a:effectLst/>
          </c:spPr>
          <c:marker>
            <c:symbol val="none"/>
          </c:marker>
          <c:cat>
            <c:strRef>
              <c:f>List1!$G$1:$PR$1</c:f>
              <c:strCache>
                <c:ptCount val="428"/>
                <c:pt idx="0">
                  <c:v>25-XII.20</c:v>
                </c:pt>
                <c:pt idx="1">
                  <c:v>26-XII.20</c:v>
                </c:pt>
                <c:pt idx="2">
                  <c:v>27.XII.20</c:v>
                </c:pt>
                <c:pt idx="3">
                  <c:v>28.XII.20</c:v>
                </c:pt>
                <c:pt idx="4">
                  <c:v>29.XII.20</c:v>
                </c:pt>
                <c:pt idx="5">
                  <c:v>30.XII.20</c:v>
                </c:pt>
                <c:pt idx="6">
                  <c:v>31.XII.20</c:v>
                </c:pt>
                <c:pt idx="7">
                  <c:v>1.I.21</c:v>
                </c:pt>
                <c:pt idx="8">
                  <c:v>2.I.21</c:v>
                </c:pt>
                <c:pt idx="9">
                  <c:v>3.I.21</c:v>
                </c:pt>
                <c:pt idx="10">
                  <c:v>4.I.21</c:v>
                </c:pt>
                <c:pt idx="11">
                  <c:v>5.I.21</c:v>
                </c:pt>
                <c:pt idx="12">
                  <c:v>6.I.21</c:v>
                </c:pt>
                <c:pt idx="13">
                  <c:v>7.I.21</c:v>
                </c:pt>
                <c:pt idx="14">
                  <c:v>8.I.21</c:v>
                </c:pt>
                <c:pt idx="15">
                  <c:v>9.I.21</c:v>
                </c:pt>
                <c:pt idx="16">
                  <c:v>10.I.21</c:v>
                </c:pt>
                <c:pt idx="17">
                  <c:v>11.I.21</c:v>
                </c:pt>
                <c:pt idx="18">
                  <c:v>12.I.21</c:v>
                </c:pt>
                <c:pt idx="19">
                  <c:v>13.I.21</c:v>
                </c:pt>
                <c:pt idx="20">
                  <c:v>14.I.21</c:v>
                </c:pt>
                <c:pt idx="21">
                  <c:v>15.I.21</c:v>
                </c:pt>
                <c:pt idx="22">
                  <c:v>16.I.21</c:v>
                </c:pt>
                <c:pt idx="23">
                  <c:v>17.I.21</c:v>
                </c:pt>
                <c:pt idx="24">
                  <c:v>18.I.21</c:v>
                </c:pt>
                <c:pt idx="25">
                  <c:v>19.I.21</c:v>
                </c:pt>
                <c:pt idx="26">
                  <c:v>20.I.21</c:v>
                </c:pt>
                <c:pt idx="27">
                  <c:v>21.I.21</c:v>
                </c:pt>
                <c:pt idx="28">
                  <c:v>22.I.21</c:v>
                </c:pt>
                <c:pt idx="29">
                  <c:v>23.I.21</c:v>
                </c:pt>
                <c:pt idx="30">
                  <c:v>24.I.21</c:v>
                </c:pt>
                <c:pt idx="31">
                  <c:v>25.I.21</c:v>
                </c:pt>
                <c:pt idx="32">
                  <c:v>26.I.21</c:v>
                </c:pt>
                <c:pt idx="33">
                  <c:v>27.I.21</c:v>
                </c:pt>
                <c:pt idx="34">
                  <c:v>28.I.21</c:v>
                </c:pt>
                <c:pt idx="35">
                  <c:v>29.I.21</c:v>
                </c:pt>
                <c:pt idx="36">
                  <c:v>30.I.21</c:v>
                </c:pt>
                <c:pt idx="37">
                  <c:v>31.I.21</c:v>
                </c:pt>
                <c:pt idx="38">
                  <c:v>1.II.21</c:v>
                </c:pt>
                <c:pt idx="39">
                  <c:v>2.II.21</c:v>
                </c:pt>
                <c:pt idx="40">
                  <c:v>3.II.21</c:v>
                </c:pt>
                <c:pt idx="41">
                  <c:v>4.II.21</c:v>
                </c:pt>
                <c:pt idx="42">
                  <c:v>5.II.21</c:v>
                </c:pt>
                <c:pt idx="43">
                  <c:v>6.II.21</c:v>
                </c:pt>
                <c:pt idx="44">
                  <c:v>7.II.21</c:v>
                </c:pt>
                <c:pt idx="45">
                  <c:v>8.II.21</c:v>
                </c:pt>
                <c:pt idx="46">
                  <c:v>9.II.21</c:v>
                </c:pt>
                <c:pt idx="47">
                  <c:v>10.II.21</c:v>
                </c:pt>
                <c:pt idx="48">
                  <c:v>11.II.21</c:v>
                </c:pt>
                <c:pt idx="49">
                  <c:v>12.II.21</c:v>
                </c:pt>
                <c:pt idx="50">
                  <c:v>13.II.21</c:v>
                </c:pt>
                <c:pt idx="51">
                  <c:v>14.II.21</c:v>
                </c:pt>
                <c:pt idx="52">
                  <c:v>15.II.21</c:v>
                </c:pt>
                <c:pt idx="53">
                  <c:v>16.II.21</c:v>
                </c:pt>
                <c:pt idx="54">
                  <c:v>17.II.21</c:v>
                </c:pt>
                <c:pt idx="55">
                  <c:v>18.II.21</c:v>
                </c:pt>
                <c:pt idx="56">
                  <c:v>19.II.21</c:v>
                </c:pt>
                <c:pt idx="57">
                  <c:v>20.II.21</c:v>
                </c:pt>
                <c:pt idx="58">
                  <c:v>21.II.21</c:v>
                </c:pt>
                <c:pt idx="59">
                  <c:v>22.II.21</c:v>
                </c:pt>
                <c:pt idx="60">
                  <c:v>23.II.21</c:v>
                </c:pt>
                <c:pt idx="61">
                  <c:v>24.II.21</c:v>
                </c:pt>
                <c:pt idx="62">
                  <c:v>25.II.21</c:v>
                </c:pt>
                <c:pt idx="63">
                  <c:v>26.II.21</c:v>
                </c:pt>
                <c:pt idx="64">
                  <c:v>27.II.21</c:v>
                </c:pt>
                <c:pt idx="65">
                  <c:v>28.II.21</c:v>
                </c:pt>
                <c:pt idx="66">
                  <c:v>1.III.21</c:v>
                </c:pt>
                <c:pt idx="67">
                  <c:v>2.III.21</c:v>
                </c:pt>
                <c:pt idx="68">
                  <c:v>3.III.21</c:v>
                </c:pt>
                <c:pt idx="69">
                  <c:v>4.III.21</c:v>
                </c:pt>
                <c:pt idx="70">
                  <c:v>5.III.21</c:v>
                </c:pt>
                <c:pt idx="71">
                  <c:v>6.III.21</c:v>
                </c:pt>
                <c:pt idx="72">
                  <c:v>7.III.21</c:v>
                </c:pt>
                <c:pt idx="73">
                  <c:v>8.III.21</c:v>
                </c:pt>
                <c:pt idx="74">
                  <c:v>9.III.21</c:v>
                </c:pt>
                <c:pt idx="75">
                  <c:v>10.III.21</c:v>
                </c:pt>
                <c:pt idx="76">
                  <c:v>11.III.21</c:v>
                </c:pt>
                <c:pt idx="77">
                  <c:v>12.III.21</c:v>
                </c:pt>
                <c:pt idx="78">
                  <c:v>13.III.21</c:v>
                </c:pt>
                <c:pt idx="79">
                  <c:v>14.III.21</c:v>
                </c:pt>
                <c:pt idx="80">
                  <c:v>15.III.21</c:v>
                </c:pt>
                <c:pt idx="81">
                  <c:v>16.III.21</c:v>
                </c:pt>
                <c:pt idx="82">
                  <c:v>17.III.21</c:v>
                </c:pt>
                <c:pt idx="83">
                  <c:v>18.III.21</c:v>
                </c:pt>
                <c:pt idx="84">
                  <c:v>19.III.21</c:v>
                </c:pt>
                <c:pt idx="85">
                  <c:v>20.III.21</c:v>
                </c:pt>
                <c:pt idx="86">
                  <c:v>21.III.21</c:v>
                </c:pt>
                <c:pt idx="87">
                  <c:v>22.III.21</c:v>
                </c:pt>
                <c:pt idx="88">
                  <c:v>23.III.21</c:v>
                </c:pt>
                <c:pt idx="89">
                  <c:v>24.III.21</c:v>
                </c:pt>
                <c:pt idx="90">
                  <c:v>25.III.21</c:v>
                </c:pt>
                <c:pt idx="91">
                  <c:v>26.III.21</c:v>
                </c:pt>
                <c:pt idx="92">
                  <c:v>27.III.21</c:v>
                </c:pt>
                <c:pt idx="93">
                  <c:v>28.III.21</c:v>
                </c:pt>
                <c:pt idx="94">
                  <c:v>29.III.21</c:v>
                </c:pt>
                <c:pt idx="95">
                  <c:v>30.III.21</c:v>
                </c:pt>
                <c:pt idx="96">
                  <c:v>31.III.21</c:v>
                </c:pt>
                <c:pt idx="97">
                  <c:v>1.IV.21</c:v>
                </c:pt>
                <c:pt idx="98">
                  <c:v>2.IV.21</c:v>
                </c:pt>
                <c:pt idx="99">
                  <c:v>3.IV.21</c:v>
                </c:pt>
                <c:pt idx="100">
                  <c:v>4.IV.21</c:v>
                </c:pt>
                <c:pt idx="101">
                  <c:v>5.IV.21</c:v>
                </c:pt>
                <c:pt idx="102">
                  <c:v>6.IV.21</c:v>
                </c:pt>
                <c:pt idx="103">
                  <c:v>7.IV.21</c:v>
                </c:pt>
                <c:pt idx="104">
                  <c:v>8.IV.21</c:v>
                </c:pt>
                <c:pt idx="105">
                  <c:v>9.IV.21</c:v>
                </c:pt>
                <c:pt idx="106">
                  <c:v>10.IV.21</c:v>
                </c:pt>
                <c:pt idx="107">
                  <c:v>11.IV.21</c:v>
                </c:pt>
                <c:pt idx="108">
                  <c:v>12.IV.21</c:v>
                </c:pt>
                <c:pt idx="109">
                  <c:v>13.IV.21</c:v>
                </c:pt>
                <c:pt idx="110">
                  <c:v>14.IV.21</c:v>
                </c:pt>
                <c:pt idx="111">
                  <c:v>15.IV.21</c:v>
                </c:pt>
                <c:pt idx="112">
                  <c:v>16.IV.21</c:v>
                </c:pt>
                <c:pt idx="113">
                  <c:v>17.IV.21</c:v>
                </c:pt>
                <c:pt idx="114">
                  <c:v>18.IV.21</c:v>
                </c:pt>
                <c:pt idx="115">
                  <c:v>19.IV.21</c:v>
                </c:pt>
                <c:pt idx="116">
                  <c:v>20.IV.21</c:v>
                </c:pt>
                <c:pt idx="117">
                  <c:v>21.IV.21</c:v>
                </c:pt>
                <c:pt idx="118">
                  <c:v>22.IV.21</c:v>
                </c:pt>
                <c:pt idx="119">
                  <c:v>23.IV.21</c:v>
                </c:pt>
                <c:pt idx="120">
                  <c:v>24.IV.21</c:v>
                </c:pt>
                <c:pt idx="121">
                  <c:v>25.IV.21</c:v>
                </c:pt>
                <c:pt idx="122">
                  <c:v>26.IV.21</c:v>
                </c:pt>
                <c:pt idx="123">
                  <c:v>27.IV.21</c:v>
                </c:pt>
                <c:pt idx="124">
                  <c:v>28.IV.21</c:v>
                </c:pt>
                <c:pt idx="125">
                  <c:v>29.IV.21</c:v>
                </c:pt>
                <c:pt idx="126">
                  <c:v>30.IV.21</c:v>
                </c:pt>
                <c:pt idx="127">
                  <c:v>1.V.21</c:v>
                </c:pt>
                <c:pt idx="128">
                  <c:v>2.V.21</c:v>
                </c:pt>
                <c:pt idx="129">
                  <c:v>3.V.21</c:v>
                </c:pt>
                <c:pt idx="130">
                  <c:v>4.V.21</c:v>
                </c:pt>
                <c:pt idx="131">
                  <c:v>5.V.21</c:v>
                </c:pt>
                <c:pt idx="132">
                  <c:v>6.V.21</c:v>
                </c:pt>
                <c:pt idx="133">
                  <c:v>7.V.21</c:v>
                </c:pt>
                <c:pt idx="134">
                  <c:v>8.V.21</c:v>
                </c:pt>
                <c:pt idx="135">
                  <c:v>9.V.21</c:v>
                </c:pt>
                <c:pt idx="136">
                  <c:v>10.V.21</c:v>
                </c:pt>
                <c:pt idx="137">
                  <c:v>11.V.21</c:v>
                </c:pt>
                <c:pt idx="138">
                  <c:v>12.V.21</c:v>
                </c:pt>
                <c:pt idx="139">
                  <c:v>13.V.21</c:v>
                </c:pt>
                <c:pt idx="140">
                  <c:v>14.V.21</c:v>
                </c:pt>
                <c:pt idx="141">
                  <c:v>15.V.21</c:v>
                </c:pt>
                <c:pt idx="142">
                  <c:v>16.V.21</c:v>
                </c:pt>
                <c:pt idx="143">
                  <c:v>17.V.21</c:v>
                </c:pt>
                <c:pt idx="144">
                  <c:v>18.V.21</c:v>
                </c:pt>
                <c:pt idx="145">
                  <c:v>19.V.21</c:v>
                </c:pt>
                <c:pt idx="146">
                  <c:v>20.V.21</c:v>
                </c:pt>
                <c:pt idx="147">
                  <c:v>21.V.21</c:v>
                </c:pt>
                <c:pt idx="148">
                  <c:v>22.V.21</c:v>
                </c:pt>
                <c:pt idx="149">
                  <c:v>23.V.21</c:v>
                </c:pt>
                <c:pt idx="150">
                  <c:v>24.V.21</c:v>
                </c:pt>
                <c:pt idx="151">
                  <c:v>25.V.21</c:v>
                </c:pt>
                <c:pt idx="152">
                  <c:v>26.V.21</c:v>
                </c:pt>
                <c:pt idx="153">
                  <c:v>27.V.21</c:v>
                </c:pt>
                <c:pt idx="154">
                  <c:v>28.V.21</c:v>
                </c:pt>
                <c:pt idx="155">
                  <c:v>29.V.21</c:v>
                </c:pt>
                <c:pt idx="156">
                  <c:v>30.V.21</c:v>
                </c:pt>
                <c:pt idx="157">
                  <c:v>31.V.21</c:v>
                </c:pt>
                <c:pt idx="158">
                  <c:v>1.VI.21</c:v>
                </c:pt>
                <c:pt idx="159">
                  <c:v>2.VI.21</c:v>
                </c:pt>
                <c:pt idx="160">
                  <c:v>3.VI.21</c:v>
                </c:pt>
                <c:pt idx="161">
                  <c:v>4.VI.21</c:v>
                </c:pt>
                <c:pt idx="162">
                  <c:v>5.VI.21</c:v>
                </c:pt>
                <c:pt idx="163">
                  <c:v>6.VI.21</c:v>
                </c:pt>
                <c:pt idx="164">
                  <c:v>7.VI.21</c:v>
                </c:pt>
                <c:pt idx="165">
                  <c:v>8.VI.21</c:v>
                </c:pt>
                <c:pt idx="166">
                  <c:v>9.VI.21</c:v>
                </c:pt>
                <c:pt idx="167">
                  <c:v>10.VI.21</c:v>
                </c:pt>
                <c:pt idx="168">
                  <c:v>11.VI.21</c:v>
                </c:pt>
                <c:pt idx="169">
                  <c:v>12.VI.21</c:v>
                </c:pt>
                <c:pt idx="170">
                  <c:v>13.VI.21</c:v>
                </c:pt>
                <c:pt idx="171">
                  <c:v>14.VI.21</c:v>
                </c:pt>
                <c:pt idx="172">
                  <c:v>15.VI.21</c:v>
                </c:pt>
                <c:pt idx="173">
                  <c:v>16.VI.21</c:v>
                </c:pt>
                <c:pt idx="174">
                  <c:v>17.VI.21</c:v>
                </c:pt>
                <c:pt idx="175">
                  <c:v>18.VI.21</c:v>
                </c:pt>
                <c:pt idx="176">
                  <c:v>19.VI.21</c:v>
                </c:pt>
                <c:pt idx="177">
                  <c:v>20.VI.21</c:v>
                </c:pt>
                <c:pt idx="178">
                  <c:v>21.VI.21</c:v>
                </c:pt>
                <c:pt idx="179">
                  <c:v>22.VI.21</c:v>
                </c:pt>
                <c:pt idx="180">
                  <c:v>23.VI.21</c:v>
                </c:pt>
                <c:pt idx="181">
                  <c:v>24.VI.21</c:v>
                </c:pt>
                <c:pt idx="182">
                  <c:v>25.VI.21</c:v>
                </c:pt>
                <c:pt idx="183">
                  <c:v>26.VI.21</c:v>
                </c:pt>
                <c:pt idx="184">
                  <c:v>27.VI.21</c:v>
                </c:pt>
                <c:pt idx="185">
                  <c:v>28.VI.21</c:v>
                </c:pt>
                <c:pt idx="186">
                  <c:v>29.VI.21</c:v>
                </c:pt>
                <c:pt idx="187">
                  <c:v>30.VI.21</c:v>
                </c:pt>
                <c:pt idx="188">
                  <c:v>1.VII.21</c:v>
                </c:pt>
                <c:pt idx="189">
                  <c:v>2.VII.21</c:v>
                </c:pt>
                <c:pt idx="190">
                  <c:v>3.VII.21</c:v>
                </c:pt>
                <c:pt idx="191">
                  <c:v>4.VII.21</c:v>
                </c:pt>
                <c:pt idx="192">
                  <c:v>5.VII.21</c:v>
                </c:pt>
                <c:pt idx="193">
                  <c:v>6.VII.21</c:v>
                </c:pt>
                <c:pt idx="194">
                  <c:v>7.VII.21</c:v>
                </c:pt>
                <c:pt idx="195">
                  <c:v>8.VII.21</c:v>
                </c:pt>
                <c:pt idx="196">
                  <c:v>9.VII.21</c:v>
                </c:pt>
                <c:pt idx="197">
                  <c:v>10.VII.21</c:v>
                </c:pt>
                <c:pt idx="198">
                  <c:v>11.VII.21</c:v>
                </c:pt>
                <c:pt idx="199">
                  <c:v>12.VII.21</c:v>
                </c:pt>
                <c:pt idx="200">
                  <c:v>13.VII.21</c:v>
                </c:pt>
                <c:pt idx="201">
                  <c:v>14.VII.21</c:v>
                </c:pt>
                <c:pt idx="202">
                  <c:v>15.VII.21</c:v>
                </c:pt>
                <c:pt idx="203">
                  <c:v>16.VII.21</c:v>
                </c:pt>
                <c:pt idx="204">
                  <c:v>17.VII.21</c:v>
                </c:pt>
                <c:pt idx="205">
                  <c:v>18.VII.21</c:v>
                </c:pt>
                <c:pt idx="206">
                  <c:v>19.VII.21</c:v>
                </c:pt>
                <c:pt idx="207">
                  <c:v>20.VII.21</c:v>
                </c:pt>
                <c:pt idx="208">
                  <c:v>21.VII.21</c:v>
                </c:pt>
                <c:pt idx="209">
                  <c:v>22.VII.21</c:v>
                </c:pt>
                <c:pt idx="210">
                  <c:v>23.VII.21</c:v>
                </c:pt>
                <c:pt idx="211">
                  <c:v>24.VII.21</c:v>
                </c:pt>
                <c:pt idx="212">
                  <c:v>25.VII.21</c:v>
                </c:pt>
                <c:pt idx="213">
                  <c:v>26.VII.21</c:v>
                </c:pt>
                <c:pt idx="214">
                  <c:v>27.VII.21</c:v>
                </c:pt>
                <c:pt idx="215">
                  <c:v>28.VII.21</c:v>
                </c:pt>
                <c:pt idx="216">
                  <c:v>29.VII.21</c:v>
                </c:pt>
                <c:pt idx="217">
                  <c:v>30.VII.21</c:v>
                </c:pt>
                <c:pt idx="218">
                  <c:v>31.VII.21</c:v>
                </c:pt>
                <c:pt idx="219">
                  <c:v>1.VIII.21</c:v>
                </c:pt>
                <c:pt idx="220">
                  <c:v>2.VIII.21</c:v>
                </c:pt>
                <c:pt idx="221">
                  <c:v>3.VIII.21</c:v>
                </c:pt>
                <c:pt idx="222">
                  <c:v>4.VIII.21</c:v>
                </c:pt>
                <c:pt idx="223">
                  <c:v>5.VIII.21</c:v>
                </c:pt>
                <c:pt idx="224">
                  <c:v>6.VIII.21</c:v>
                </c:pt>
                <c:pt idx="225">
                  <c:v>7.VIII.21</c:v>
                </c:pt>
                <c:pt idx="226">
                  <c:v>8.VIII.21</c:v>
                </c:pt>
                <c:pt idx="227">
                  <c:v>9.VIII.21</c:v>
                </c:pt>
                <c:pt idx="228">
                  <c:v>10.VIII.21</c:v>
                </c:pt>
                <c:pt idx="229">
                  <c:v>11.VIII.21</c:v>
                </c:pt>
                <c:pt idx="230">
                  <c:v>12.VIII.21</c:v>
                </c:pt>
                <c:pt idx="231">
                  <c:v>13.VIII.21</c:v>
                </c:pt>
                <c:pt idx="232">
                  <c:v>14.VIII.21</c:v>
                </c:pt>
                <c:pt idx="233">
                  <c:v>15.VIII.21</c:v>
                </c:pt>
                <c:pt idx="234">
                  <c:v>16.VIII.21</c:v>
                </c:pt>
                <c:pt idx="235">
                  <c:v>17.VIII.21</c:v>
                </c:pt>
                <c:pt idx="236">
                  <c:v>18.VIII.21</c:v>
                </c:pt>
                <c:pt idx="237">
                  <c:v>19.VIII.21</c:v>
                </c:pt>
                <c:pt idx="238">
                  <c:v>20.VIII.21</c:v>
                </c:pt>
                <c:pt idx="239">
                  <c:v>21.VIII.21</c:v>
                </c:pt>
                <c:pt idx="240">
                  <c:v>22.VIII.21</c:v>
                </c:pt>
                <c:pt idx="241">
                  <c:v>23.VIII.21</c:v>
                </c:pt>
                <c:pt idx="242">
                  <c:v>24.VIII.21</c:v>
                </c:pt>
                <c:pt idx="243">
                  <c:v>25.VIII.21</c:v>
                </c:pt>
                <c:pt idx="244">
                  <c:v>26.VIII.21</c:v>
                </c:pt>
                <c:pt idx="245">
                  <c:v>27.VIII.21</c:v>
                </c:pt>
                <c:pt idx="246">
                  <c:v>28.VIII.21</c:v>
                </c:pt>
                <c:pt idx="247">
                  <c:v>29.VIII.21</c:v>
                </c:pt>
                <c:pt idx="248">
                  <c:v>30.VIII.21</c:v>
                </c:pt>
                <c:pt idx="249">
                  <c:v>31.VIII.21</c:v>
                </c:pt>
                <c:pt idx="250">
                  <c:v>1.IX.21</c:v>
                </c:pt>
                <c:pt idx="251">
                  <c:v>2.IX.21</c:v>
                </c:pt>
                <c:pt idx="252">
                  <c:v>3.IX.21</c:v>
                </c:pt>
                <c:pt idx="253">
                  <c:v>4.IX.21</c:v>
                </c:pt>
                <c:pt idx="254">
                  <c:v>5.IX.21</c:v>
                </c:pt>
                <c:pt idx="255">
                  <c:v>6.IX.21</c:v>
                </c:pt>
                <c:pt idx="256">
                  <c:v>7.IX.21</c:v>
                </c:pt>
                <c:pt idx="257">
                  <c:v>8.IX.21</c:v>
                </c:pt>
                <c:pt idx="258">
                  <c:v>9.IX.21</c:v>
                </c:pt>
                <c:pt idx="259">
                  <c:v>10.IX.21</c:v>
                </c:pt>
                <c:pt idx="260">
                  <c:v>11.IX.21</c:v>
                </c:pt>
                <c:pt idx="261">
                  <c:v>12.IX.21</c:v>
                </c:pt>
                <c:pt idx="262">
                  <c:v>13.IX.21</c:v>
                </c:pt>
                <c:pt idx="263">
                  <c:v>14.IX.21</c:v>
                </c:pt>
                <c:pt idx="264">
                  <c:v>15.IX.21</c:v>
                </c:pt>
                <c:pt idx="265">
                  <c:v>16.IX.21</c:v>
                </c:pt>
                <c:pt idx="266">
                  <c:v>17.IX.21</c:v>
                </c:pt>
                <c:pt idx="267">
                  <c:v>18.IX.21</c:v>
                </c:pt>
                <c:pt idx="268">
                  <c:v>19.IX.21</c:v>
                </c:pt>
                <c:pt idx="269">
                  <c:v>20.IX.21</c:v>
                </c:pt>
                <c:pt idx="270">
                  <c:v>21.IX.21</c:v>
                </c:pt>
                <c:pt idx="271">
                  <c:v>22.IX.21</c:v>
                </c:pt>
                <c:pt idx="272">
                  <c:v>23.IX.21</c:v>
                </c:pt>
                <c:pt idx="273">
                  <c:v>24.IX.21</c:v>
                </c:pt>
                <c:pt idx="274">
                  <c:v>25.IX.21</c:v>
                </c:pt>
                <c:pt idx="275">
                  <c:v>26.IX.21</c:v>
                </c:pt>
                <c:pt idx="276">
                  <c:v>27.IX.21</c:v>
                </c:pt>
                <c:pt idx="277">
                  <c:v>28.IX.21</c:v>
                </c:pt>
                <c:pt idx="278">
                  <c:v>29.IX.21</c:v>
                </c:pt>
                <c:pt idx="279">
                  <c:v>30.IX.21</c:v>
                </c:pt>
                <c:pt idx="280">
                  <c:v>1.X.21</c:v>
                </c:pt>
                <c:pt idx="281">
                  <c:v>2.X.21</c:v>
                </c:pt>
                <c:pt idx="282">
                  <c:v>3.X.21</c:v>
                </c:pt>
                <c:pt idx="283">
                  <c:v>4.X.21</c:v>
                </c:pt>
                <c:pt idx="284">
                  <c:v>5.X.21</c:v>
                </c:pt>
                <c:pt idx="285">
                  <c:v>6.X.21</c:v>
                </c:pt>
                <c:pt idx="286">
                  <c:v>7.X.21</c:v>
                </c:pt>
                <c:pt idx="287">
                  <c:v>8.X.21</c:v>
                </c:pt>
                <c:pt idx="288">
                  <c:v>9.X.21</c:v>
                </c:pt>
                <c:pt idx="289">
                  <c:v>10.X.21</c:v>
                </c:pt>
                <c:pt idx="290">
                  <c:v>11.X.21</c:v>
                </c:pt>
                <c:pt idx="291">
                  <c:v>12.X.21</c:v>
                </c:pt>
                <c:pt idx="292">
                  <c:v>13.X.21</c:v>
                </c:pt>
                <c:pt idx="293">
                  <c:v>14.X.21</c:v>
                </c:pt>
                <c:pt idx="294">
                  <c:v>15.X.21</c:v>
                </c:pt>
                <c:pt idx="295">
                  <c:v>16.X.21</c:v>
                </c:pt>
                <c:pt idx="296">
                  <c:v>17.X.21</c:v>
                </c:pt>
                <c:pt idx="297">
                  <c:v>18.X.21</c:v>
                </c:pt>
                <c:pt idx="298">
                  <c:v>19.X.21</c:v>
                </c:pt>
                <c:pt idx="299">
                  <c:v>20.X.21</c:v>
                </c:pt>
                <c:pt idx="300">
                  <c:v>21.X.21</c:v>
                </c:pt>
                <c:pt idx="301">
                  <c:v>22.X.21</c:v>
                </c:pt>
                <c:pt idx="302">
                  <c:v>23.X.21</c:v>
                </c:pt>
                <c:pt idx="303">
                  <c:v>24.X.21</c:v>
                </c:pt>
                <c:pt idx="304">
                  <c:v>25.X.21</c:v>
                </c:pt>
                <c:pt idx="305">
                  <c:v>26.X.21</c:v>
                </c:pt>
                <c:pt idx="306">
                  <c:v>27.X.21</c:v>
                </c:pt>
                <c:pt idx="307">
                  <c:v>28.X.21</c:v>
                </c:pt>
                <c:pt idx="308">
                  <c:v>29.X.21</c:v>
                </c:pt>
                <c:pt idx="309">
                  <c:v>30.X.21</c:v>
                </c:pt>
                <c:pt idx="310">
                  <c:v>31.X.21</c:v>
                </c:pt>
                <c:pt idx="311">
                  <c:v>1.XI.21</c:v>
                </c:pt>
                <c:pt idx="312">
                  <c:v>2.XI.21</c:v>
                </c:pt>
                <c:pt idx="313">
                  <c:v>3.XI.21</c:v>
                </c:pt>
                <c:pt idx="314">
                  <c:v>4.XI.21</c:v>
                </c:pt>
                <c:pt idx="315">
                  <c:v>5.XI.21</c:v>
                </c:pt>
                <c:pt idx="316">
                  <c:v>6.XI.21</c:v>
                </c:pt>
                <c:pt idx="317">
                  <c:v>7.XI.21</c:v>
                </c:pt>
                <c:pt idx="318">
                  <c:v>8.XI.21</c:v>
                </c:pt>
                <c:pt idx="319">
                  <c:v>9.XI.21</c:v>
                </c:pt>
                <c:pt idx="320">
                  <c:v>10.XI.21</c:v>
                </c:pt>
                <c:pt idx="321">
                  <c:v>11.XI.21</c:v>
                </c:pt>
                <c:pt idx="322">
                  <c:v>12.XI.21</c:v>
                </c:pt>
                <c:pt idx="323">
                  <c:v>13.XI.21</c:v>
                </c:pt>
                <c:pt idx="324">
                  <c:v>14.XI.21</c:v>
                </c:pt>
                <c:pt idx="325">
                  <c:v>15.XI.21</c:v>
                </c:pt>
                <c:pt idx="326">
                  <c:v>16.XI.21</c:v>
                </c:pt>
                <c:pt idx="327">
                  <c:v>17.XI.21</c:v>
                </c:pt>
                <c:pt idx="328">
                  <c:v>18.XI.21</c:v>
                </c:pt>
                <c:pt idx="329">
                  <c:v>19.XI.21</c:v>
                </c:pt>
                <c:pt idx="330">
                  <c:v>20.XI.21</c:v>
                </c:pt>
                <c:pt idx="331">
                  <c:v>21.XI.21</c:v>
                </c:pt>
                <c:pt idx="332">
                  <c:v>22.XI.21</c:v>
                </c:pt>
                <c:pt idx="333">
                  <c:v>23.XI.21</c:v>
                </c:pt>
                <c:pt idx="334">
                  <c:v>24.XI.21</c:v>
                </c:pt>
                <c:pt idx="335">
                  <c:v>25.XI.21</c:v>
                </c:pt>
                <c:pt idx="336">
                  <c:v>26.XI.21</c:v>
                </c:pt>
                <c:pt idx="337">
                  <c:v>27.XI.21</c:v>
                </c:pt>
                <c:pt idx="338">
                  <c:v>28.XI.21</c:v>
                </c:pt>
                <c:pt idx="339">
                  <c:v>29.XI.21</c:v>
                </c:pt>
                <c:pt idx="340">
                  <c:v>30.XI.21</c:v>
                </c:pt>
                <c:pt idx="341">
                  <c:v>1.XII.21</c:v>
                </c:pt>
                <c:pt idx="342">
                  <c:v>2.XII.21</c:v>
                </c:pt>
                <c:pt idx="343">
                  <c:v>3.XII.21</c:v>
                </c:pt>
                <c:pt idx="344">
                  <c:v>4.XII.21</c:v>
                </c:pt>
                <c:pt idx="345">
                  <c:v>5.XII.21</c:v>
                </c:pt>
                <c:pt idx="346">
                  <c:v>6.XII.21</c:v>
                </c:pt>
                <c:pt idx="347">
                  <c:v>7.XII.21</c:v>
                </c:pt>
                <c:pt idx="348">
                  <c:v>8.XII.21</c:v>
                </c:pt>
                <c:pt idx="349">
                  <c:v>9.XII.21</c:v>
                </c:pt>
                <c:pt idx="350">
                  <c:v>10.XII.21</c:v>
                </c:pt>
                <c:pt idx="351">
                  <c:v>11.XII.21</c:v>
                </c:pt>
                <c:pt idx="352">
                  <c:v>12.XII.21</c:v>
                </c:pt>
                <c:pt idx="353">
                  <c:v>13.XII.21</c:v>
                </c:pt>
                <c:pt idx="354">
                  <c:v>14.XII.21</c:v>
                </c:pt>
                <c:pt idx="355">
                  <c:v>15.XII.21</c:v>
                </c:pt>
                <c:pt idx="356">
                  <c:v>16.XII.21</c:v>
                </c:pt>
                <c:pt idx="357">
                  <c:v>17.XII.21</c:v>
                </c:pt>
                <c:pt idx="358">
                  <c:v>18.XII.21</c:v>
                </c:pt>
                <c:pt idx="359">
                  <c:v>19.XII.21</c:v>
                </c:pt>
                <c:pt idx="360">
                  <c:v>20.XII.21</c:v>
                </c:pt>
                <c:pt idx="361">
                  <c:v>21.XII.21</c:v>
                </c:pt>
                <c:pt idx="362">
                  <c:v>22.XII.21</c:v>
                </c:pt>
                <c:pt idx="363">
                  <c:v>23.XII.21</c:v>
                </c:pt>
                <c:pt idx="364">
                  <c:v>24.XII.21</c:v>
                </c:pt>
                <c:pt idx="365">
                  <c:v>27.XII.21</c:v>
                </c:pt>
                <c:pt idx="366">
                  <c:v>28.XII.21</c:v>
                </c:pt>
                <c:pt idx="367">
                  <c:v>29.XII.21</c:v>
                </c:pt>
                <c:pt idx="368">
                  <c:v>30.XII.21</c:v>
                </c:pt>
                <c:pt idx="369">
                  <c:v>31.XII.21</c:v>
                </c:pt>
                <c:pt idx="370">
                  <c:v>2.I.22</c:v>
                </c:pt>
                <c:pt idx="371">
                  <c:v>3.I.22</c:v>
                </c:pt>
                <c:pt idx="372">
                  <c:v>4.I.22</c:v>
                </c:pt>
                <c:pt idx="373">
                  <c:v>5.I.22</c:v>
                </c:pt>
                <c:pt idx="374">
                  <c:v>6.I.22</c:v>
                </c:pt>
                <c:pt idx="375">
                  <c:v>7.I.22</c:v>
                </c:pt>
                <c:pt idx="376">
                  <c:v>8.I.22</c:v>
                </c:pt>
                <c:pt idx="377">
                  <c:v>9.I.22</c:v>
                </c:pt>
                <c:pt idx="378">
                  <c:v>10.I.22</c:v>
                </c:pt>
                <c:pt idx="379">
                  <c:v>11.I.22</c:v>
                </c:pt>
                <c:pt idx="380">
                  <c:v>12.I.22</c:v>
                </c:pt>
                <c:pt idx="381">
                  <c:v>13.I.22</c:v>
                </c:pt>
                <c:pt idx="382">
                  <c:v>14.I.22</c:v>
                </c:pt>
                <c:pt idx="383">
                  <c:v>15.I.22</c:v>
                </c:pt>
                <c:pt idx="384">
                  <c:v>16.I.22</c:v>
                </c:pt>
                <c:pt idx="385">
                  <c:v>17.I.22</c:v>
                </c:pt>
                <c:pt idx="386">
                  <c:v>18.I.22</c:v>
                </c:pt>
                <c:pt idx="387">
                  <c:v>19.I.22</c:v>
                </c:pt>
                <c:pt idx="388">
                  <c:v>20.I.22</c:v>
                </c:pt>
                <c:pt idx="389">
                  <c:v>21.I.22</c:v>
                </c:pt>
                <c:pt idx="390">
                  <c:v>22.I.22</c:v>
                </c:pt>
                <c:pt idx="391">
                  <c:v>23.I.22</c:v>
                </c:pt>
                <c:pt idx="392">
                  <c:v>24.I.22</c:v>
                </c:pt>
                <c:pt idx="393">
                  <c:v>25.I.22</c:v>
                </c:pt>
                <c:pt idx="394">
                  <c:v>26.I.22</c:v>
                </c:pt>
                <c:pt idx="395">
                  <c:v>27.I.22</c:v>
                </c:pt>
                <c:pt idx="396">
                  <c:v>28.I.22</c:v>
                </c:pt>
                <c:pt idx="397">
                  <c:v>29.I.22</c:v>
                </c:pt>
                <c:pt idx="398">
                  <c:v>30.I.22</c:v>
                </c:pt>
                <c:pt idx="399">
                  <c:v>31.I.22</c:v>
                </c:pt>
                <c:pt idx="400">
                  <c:v>1.II.22</c:v>
                </c:pt>
                <c:pt idx="401">
                  <c:v>2.II.22</c:v>
                </c:pt>
                <c:pt idx="402">
                  <c:v>3.II.22</c:v>
                </c:pt>
                <c:pt idx="403">
                  <c:v>4.II.22</c:v>
                </c:pt>
                <c:pt idx="404">
                  <c:v>5.II.22</c:v>
                </c:pt>
                <c:pt idx="405">
                  <c:v>6.II.22</c:v>
                </c:pt>
                <c:pt idx="406">
                  <c:v>7.II.22</c:v>
                </c:pt>
                <c:pt idx="407">
                  <c:v>8.II.22</c:v>
                </c:pt>
                <c:pt idx="408">
                  <c:v>9.II.22</c:v>
                </c:pt>
                <c:pt idx="409">
                  <c:v>10.II.22</c:v>
                </c:pt>
                <c:pt idx="410">
                  <c:v>11.II.22</c:v>
                </c:pt>
                <c:pt idx="411">
                  <c:v>12.II.22</c:v>
                </c:pt>
                <c:pt idx="412">
                  <c:v>14.II.22</c:v>
                </c:pt>
                <c:pt idx="413">
                  <c:v>15.II.22</c:v>
                </c:pt>
                <c:pt idx="414">
                  <c:v>16.II.22</c:v>
                </c:pt>
                <c:pt idx="415">
                  <c:v>17.II.22</c:v>
                </c:pt>
                <c:pt idx="416">
                  <c:v>18.II.22</c:v>
                </c:pt>
                <c:pt idx="417">
                  <c:v>19.II.22</c:v>
                </c:pt>
                <c:pt idx="418">
                  <c:v>21.II.22</c:v>
                </c:pt>
                <c:pt idx="419">
                  <c:v>22.II.22</c:v>
                </c:pt>
                <c:pt idx="420">
                  <c:v>23.II.22</c:v>
                </c:pt>
                <c:pt idx="421">
                  <c:v>24.II.22</c:v>
                </c:pt>
                <c:pt idx="422">
                  <c:v>25.II.22</c:v>
                </c:pt>
                <c:pt idx="423">
                  <c:v>28.II.22</c:v>
                </c:pt>
                <c:pt idx="424">
                  <c:v>1.III.22</c:v>
                </c:pt>
                <c:pt idx="425">
                  <c:v>2.III.22</c:v>
                </c:pt>
                <c:pt idx="426">
                  <c:v>3.III.22</c:v>
                </c:pt>
                <c:pt idx="427">
                  <c:v>4.III.22</c:v>
                </c:pt>
              </c:strCache>
            </c:strRef>
          </c:cat>
          <c:val>
            <c:numRef>
              <c:f>List1!$G$2:$PR$2</c:f>
              <c:numCache>
                <c:formatCode>General</c:formatCode>
                <c:ptCount val="428"/>
                <c:pt idx="2">
                  <c:v>1050</c:v>
                </c:pt>
                <c:pt idx="3">
                  <c:v>2942</c:v>
                </c:pt>
                <c:pt idx="4">
                  <c:v>5609</c:v>
                </c:pt>
                <c:pt idx="5">
                  <c:v>8313</c:v>
                </c:pt>
                <c:pt idx="6">
                  <c:v>9203</c:v>
                </c:pt>
                <c:pt idx="7">
                  <c:v>9440</c:v>
                </c:pt>
                <c:pt idx="8">
                  <c:v>10600</c:v>
                </c:pt>
                <c:pt idx="9">
                  <c:v>11442</c:v>
                </c:pt>
                <c:pt idx="10">
                  <c:v>14608</c:v>
                </c:pt>
                <c:pt idx="11">
                  <c:v>18525</c:v>
                </c:pt>
                <c:pt idx="12">
                  <c:v>23453</c:v>
                </c:pt>
                <c:pt idx="13">
                  <c:v>29285</c:v>
                </c:pt>
                <c:pt idx="14">
                  <c:v>36071</c:v>
                </c:pt>
                <c:pt idx="15">
                  <c:v>37233</c:v>
                </c:pt>
                <c:pt idx="16">
                  <c:v>38191</c:v>
                </c:pt>
                <c:pt idx="17">
                  <c:v>44601</c:v>
                </c:pt>
                <c:pt idx="18">
                  <c:v>52017</c:v>
                </c:pt>
                <c:pt idx="19">
                  <c:v>58627</c:v>
                </c:pt>
                <c:pt idx="20">
                  <c:v>65611</c:v>
                </c:pt>
                <c:pt idx="21">
                  <c:v>71802</c:v>
                </c:pt>
                <c:pt idx="22">
                  <c:v>72738</c:v>
                </c:pt>
                <c:pt idx="23">
                  <c:v>73286</c:v>
                </c:pt>
                <c:pt idx="24">
                  <c:v>77970</c:v>
                </c:pt>
                <c:pt idx="25">
                  <c:v>81769</c:v>
                </c:pt>
                <c:pt idx="26">
                  <c:v>85490</c:v>
                </c:pt>
                <c:pt idx="27">
                  <c:v>88878</c:v>
                </c:pt>
                <c:pt idx="28">
                  <c:v>91770</c:v>
                </c:pt>
                <c:pt idx="29">
                  <c:v>92159</c:v>
                </c:pt>
                <c:pt idx="30">
                  <c:v>92395</c:v>
                </c:pt>
                <c:pt idx="31">
                  <c:v>94003</c:v>
                </c:pt>
                <c:pt idx="32">
                  <c:v>95769</c:v>
                </c:pt>
                <c:pt idx="33">
                  <c:v>97217</c:v>
                </c:pt>
                <c:pt idx="34">
                  <c:v>98604</c:v>
                </c:pt>
                <c:pt idx="35">
                  <c:v>99885</c:v>
                </c:pt>
                <c:pt idx="36">
                  <c:v>99956</c:v>
                </c:pt>
                <c:pt idx="37">
                  <c:v>100027</c:v>
                </c:pt>
                <c:pt idx="38">
                  <c:v>100921</c:v>
                </c:pt>
                <c:pt idx="39">
                  <c:v>101789</c:v>
                </c:pt>
                <c:pt idx="40">
                  <c:v>102605</c:v>
                </c:pt>
                <c:pt idx="41">
                  <c:v>103314</c:v>
                </c:pt>
                <c:pt idx="42">
                  <c:v>104242</c:v>
                </c:pt>
                <c:pt idx="43">
                  <c:v>104293</c:v>
                </c:pt>
                <c:pt idx="44">
                  <c:v>104344</c:v>
                </c:pt>
                <c:pt idx="45">
                  <c:v>104984</c:v>
                </c:pt>
                <c:pt idx="46">
                  <c:v>105639</c:v>
                </c:pt>
                <c:pt idx="47">
                  <c:v>106503</c:v>
                </c:pt>
                <c:pt idx="48">
                  <c:v>107557</c:v>
                </c:pt>
                <c:pt idx="49">
                  <c:v>108759</c:v>
                </c:pt>
                <c:pt idx="50">
                  <c:v>109144</c:v>
                </c:pt>
                <c:pt idx="51">
                  <c:v>109328</c:v>
                </c:pt>
                <c:pt idx="52">
                  <c:v>110650</c:v>
                </c:pt>
                <c:pt idx="53">
                  <c:v>111941</c:v>
                </c:pt>
                <c:pt idx="54">
                  <c:v>113318</c:v>
                </c:pt>
                <c:pt idx="55">
                  <c:v>114882</c:v>
                </c:pt>
                <c:pt idx="56">
                  <c:v>116739</c:v>
                </c:pt>
                <c:pt idx="57">
                  <c:v>117200</c:v>
                </c:pt>
                <c:pt idx="58">
                  <c:v>117363</c:v>
                </c:pt>
                <c:pt idx="59">
                  <c:v>118954</c:v>
                </c:pt>
                <c:pt idx="60">
                  <c:v>121248</c:v>
                </c:pt>
                <c:pt idx="61">
                  <c:v>123749</c:v>
                </c:pt>
                <c:pt idx="62">
                  <c:v>126780</c:v>
                </c:pt>
                <c:pt idx="63">
                  <c:v>129385</c:v>
                </c:pt>
                <c:pt idx="64">
                  <c:v>129693</c:v>
                </c:pt>
                <c:pt idx="65">
                  <c:v>129914</c:v>
                </c:pt>
                <c:pt idx="66">
                  <c:v>132461</c:v>
                </c:pt>
                <c:pt idx="67">
                  <c:v>135217</c:v>
                </c:pt>
                <c:pt idx="68">
                  <c:v>137886</c:v>
                </c:pt>
                <c:pt idx="69">
                  <c:v>140341</c:v>
                </c:pt>
                <c:pt idx="70">
                  <c:v>143308</c:v>
                </c:pt>
                <c:pt idx="71">
                  <c:v>144015</c:v>
                </c:pt>
                <c:pt idx="72">
                  <c:v>144530</c:v>
                </c:pt>
                <c:pt idx="73">
                  <c:v>146478</c:v>
                </c:pt>
                <c:pt idx="74">
                  <c:v>148624</c:v>
                </c:pt>
                <c:pt idx="75">
                  <c:v>150872</c:v>
                </c:pt>
                <c:pt idx="76">
                  <c:v>153873</c:v>
                </c:pt>
                <c:pt idx="77">
                  <c:v>156494</c:v>
                </c:pt>
                <c:pt idx="78">
                  <c:v>157152</c:v>
                </c:pt>
                <c:pt idx="79">
                  <c:v>157721</c:v>
                </c:pt>
                <c:pt idx="80">
                  <c:v>159309</c:v>
                </c:pt>
                <c:pt idx="81">
                  <c:v>161640</c:v>
                </c:pt>
                <c:pt idx="82">
                  <c:v>163955</c:v>
                </c:pt>
                <c:pt idx="83">
                  <c:v>165983</c:v>
                </c:pt>
                <c:pt idx="84">
                  <c:v>168244</c:v>
                </c:pt>
                <c:pt idx="85">
                  <c:v>169119</c:v>
                </c:pt>
                <c:pt idx="86">
                  <c:v>169566</c:v>
                </c:pt>
                <c:pt idx="87">
                  <c:v>170719</c:v>
                </c:pt>
                <c:pt idx="88">
                  <c:v>171958</c:v>
                </c:pt>
                <c:pt idx="89">
                  <c:v>173027</c:v>
                </c:pt>
                <c:pt idx="90">
                  <c:v>174323</c:v>
                </c:pt>
                <c:pt idx="91">
                  <c:v>175701</c:v>
                </c:pt>
                <c:pt idx="92">
                  <c:v>176075</c:v>
                </c:pt>
                <c:pt idx="93">
                  <c:v>176419</c:v>
                </c:pt>
                <c:pt idx="94">
                  <c:v>177202</c:v>
                </c:pt>
                <c:pt idx="95">
                  <c:v>178231</c:v>
                </c:pt>
                <c:pt idx="96">
                  <c:v>179353</c:v>
                </c:pt>
                <c:pt idx="97">
                  <c:v>180457</c:v>
                </c:pt>
                <c:pt idx="98">
                  <c:v>180725</c:v>
                </c:pt>
                <c:pt idx="99">
                  <c:v>180845</c:v>
                </c:pt>
                <c:pt idx="100">
                  <c:v>180960</c:v>
                </c:pt>
                <c:pt idx="101">
                  <c:v>181032</c:v>
                </c:pt>
                <c:pt idx="102">
                  <c:v>181596</c:v>
                </c:pt>
                <c:pt idx="103">
                  <c:v>182270</c:v>
                </c:pt>
                <c:pt idx="104">
                  <c:v>183514</c:v>
                </c:pt>
                <c:pt idx="105">
                  <c:v>184791</c:v>
                </c:pt>
                <c:pt idx="106">
                  <c:v>185168</c:v>
                </c:pt>
                <c:pt idx="107">
                  <c:v>185418</c:v>
                </c:pt>
                <c:pt idx="108">
                  <c:v>186358</c:v>
                </c:pt>
                <c:pt idx="109">
                  <c:v>187173</c:v>
                </c:pt>
                <c:pt idx="110">
                  <c:v>188117</c:v>
                </c:pt>
                <c:pt idx="111">
                  <c:v>189485</c:v>
                </c:pt>
                <c:pt idx="112">
                  <c:v>191033</c:v>
                </c:pt>
                <c:pt idx="113">
                  <c:v>191456</c:v>
                </c:pt>
                <c:pt idx="114">
                  <c:v>191897</c:v>
                </c:pt>
                <c:pt idx="115">
                  <c:v>193003</c:v>
                </c:pt>
                <c:pt idx="116">
                  <c:v>194051</c:v>
                </c:pt>
                <c:pt idx="117">
                  <c:v>195343</c:v>
                </c:pt>
                <c:pt idx="118">
                  <c:v>196814</c:v>
                </c:pt>
                <c:pt idx="119">
                  <c:v>198329</c:v>
                </c:pt>
                <c:pt idx="120">
                  <c:v>198769</c:v>
                </c:pt>
                <c:pt idx="121">
                  <c:v>199143</c:v>
                </c:pt>
                <c:pt idx="122">
                  <c:v>200340</c:v>
                </c:pt>
                <c:pt idx="123">
                  <c:v>201430</c:v>
                </c:pt>
                <c:pt idx="124">
                  <c:v>202819</c:v>
                </c:pt>
                <c:pt idx="125">
                  <c:v>204295</c:v>
                </c:pt>
                <c:pt idx="126">
                  <c:v>205699</c:v>
                </c:pt>
                <c:pt idx="127">
                  <c:v>206036</c:v>
                </c:pt>
                <c:pt idx="128">
                  <c:v>206373</c:v>
                </c:pt>
                <c:pt idx="129">
                  <c:v>207456</c:v>
                </c:pt>
                <c:pt idx="130">
                  <c:v>208562</c:v>
                </c:pt>
                <c:pt idx="131">
                  <c:v>209709</c:v>
                </c:pt>
                <c:pt idx="132">
                  <c:v>210906</c:v>
                </c:pt>
                <c:pt idx="133">
                  <c:v>212212</c:v>
                </c:pt>
                <c:pt idx="134">
                  <c:v>212714</c:v>
                </c:pt>
                <c:pt idx="135">
                  <c:v>213023</c:v>
                </c:pt>
                <c:pt idx="136">
                  <c:v>213995</c:v>
                </c:pt>
                <c:pt idx="137">
                  <c:v>215023</c:v>
                </c:pt>
                <c:pt idx="138">
                  <c:v>216063</c:v>
                </c:pt>
                <c:pt idx="139">
                  <c:v>217205</c:v>
                </c:pt>
                <c:pt idx="140">
                  <c:v>218209</c:v>
                </c:pt>
                <c:pt idx="141">
                  <c:v>218651</c:v>
                </c:pt>
                <c:pt idx="142">
                  <c:v>218937</c:v>
                </c:pt>
                <c:pt idx="143">
                  <c:v>219725</c:v>
                </c:pt>
                <c:pt idx="144">
                  <c:v>220608</c:v>
                </c:pt>
                <c:pt idx="145">
                  <c:v>221518</c:v>
                </c:pt>
                <c:pt idx="146">
                  <c:v>222456</c:v>
                </c:pt>
                <c:pt idx="147">
                  <c:v>223385</c:v>
                </c:pt>
                <c:pt idx="148">
                  <c:v>223738</c:v>
                </c:pt>
                <c:pt idx="149">
                  <c:v>223967</c:v>
                </c:pt>
                <c:pt idx="150">
                  <c:v>224520</c:v>
                </c:pt>
                <c:pt idx="151">
                  <c:v>225149</c:v>
                </c:pt>
                <c:pt idx="152">
                  <c:v>226003</c:v>
                </c:pt>
                <c:pt idx="153">
                  <c:v>226785</c:v>
                </c:pt>
                <c:pt idx="154">
                  <c:v>227614</c:v>
                </c:pt>
                <c:pt idx="155">
                  <c:v>227981</c:v>
                </c:pt>
                <c:pt idx="156">
                  <c:v>228270</c:v>
                </c:pt>
                <c:pt idx="157">
                  <c:v>228966</c:v>
                </c:pt>
                <c:pt idx="158">
                  <c:v>229688</c:v>
                </c:pt>
                <c:pt idx="159">
                  <c:v>230578</c:v>
                </c:pt>
                <c:pt idx="160">
                  <c:v>231419</c:v>
                </c:pt>
                <c:pt idx="161">
                  <c:v>232310</c:v>
                </c:pt>
                <c:pt idx="162">
                  <c:v>232735</c:v>
                </c:pt>
                <c:pt idx="163">
                  <c:v>233141</c:v>
                </c:pt>
                <c:pt idx="164">
                  <c:v>234037</c:v>
                </c:pt>
                <c:pt idx="165">
                  <c:v>235023</c:v>
                </c:pt>
                <c:pt idx="166">
                  <c:v>235949</c:v>
                </c:pt>
                <c:pt idx="167">
                  <c:v>236830</c:v>
                </c:pt>
                <c:pt idx="168">
                  <c:v>237689</c:v>
                </c:pt>
                <c:pt idx="169">
                  <c:v>238219</c:v>
                </c:pt>
                <c:pt idx="170">
                  <c:v>238594</c:v>
                </c:pt>
                <c:pt idx="171">
                  <c:v>239264</c:v>
                </c:pt>
                <c:pt idx="172">
                  <c:v>240028</c:v>
                </c:pt>
                <c:pt idx="173">
                  <c:v>240733</c:v>
                </c:pt>
                <c:pt idx="174">
                  <c:v>241450</c:v>
                </c:pt>
                <c:pt idx="175">
                  <c:v>242127</c:v>
                </c:pt>
                <c:pt idx="176">
                  <c:v>242464</c:v>
                </c:pt>
                <c:pt idx="177">
                  <c:v>242725</c:v>
                </c:pt>
                <c:pt idx="178">
                  <c:v>243240</c:v>
                </c:pt>
                <c:pt idx="179">
                  <c:v>243830</c:v>
                </c:pt>
                <c:pt idx="180">
                  <c:v>244329</c:v>
                </c:pt>
                <c:pt idx="181">
                  <c:v>244832</c:v>
                </c:pt>
                <c:pt idx="182">
                  <c:v>245335</c:v>
                </c:pt>
                <c:pt idx="183">
                  <c:v>245592</c:v>
                </c:pt>
                <c:pt idx="184">
                  <c:v>245785</c:v>
                </c:pt>
                <c:pt idx="185">
                  <c:v>246283</c:v>
                </c:pt>
                <c:pt idx="186">
                  <c:v>246745</c:v>
                </c:pt>
                <c:pt idx="187">
                  <c:v>247228</c:v>
                </c:pt>
                <c:pt idx="188">
                  <c:v>247592</c:v>
                </c:pt>
                <c:pt idx="189">
                  <c:v>248077</c:v>
                </c:pt>
                <c:pt idx="190">
                  <c:v>248175</c:v>
                </c:pt>
                <c:pt idx="191">
                  <c:v>248293</c:v>
                </c:pt>
                <c:pt idx="192">
                  <c:v>248406</c:v>
                </c:pt>
                <c:pt idx="193">
                  <c:v>248507</c:v>
                </c:pt>
                <c:pt idx="194">
                  <c:v>248920</c:v>
                </c:pt>
                <c:pt idx="195">
                  <c:v>249371</c:v>
                </c:pt>
                <c:pt idx="196">
                  <c:v>249817</c:v>
                </c:pt>
                <c:pt idx="197">
                  <c:v>249985</c:v>
                </c:pt>
                <c:pt idx="198">
                  <c:v>250106</c:v>
                </c:pt>
                <c:pt idx="199">
                  <c:v>250552</c:v>
                </c:pt>
                <c:pt idx="200">
                  <c:v>251000</c:v>
                </c:pt>
                <c:pt idx="201">
                  <c:v>251490</c:v>
                </c:pt>
                <c:pt idx="202">
                  <c:v>251990</c:v>
                </c:pt>
                <c:pt idx="203">
                  <c:v>252479</c:v>
                </c:pt>
                <c:pt idx="204">
                  <c:v>252661</c:v>
                </c:pt>
                <c:pt idx="205">
                  <c:v>252807</c:v>
                </c:pt>
                <c:pt idx="206">
                  <c:v>253230</c:v>
                </c:pt>
                <c:pt idx="207">
                  <c:v>253585</c:v>
                </c:pt>
                <c:pt idx="208">
                  <c:v>254055</c:v>
                </c:pt>
                <c:pt idx="209">
                  <c:v>254450</c:v>
                </c:pt>
                <c:pt idx="210">
                  <c:v>254844</c:v>
                </c:pt>
                <c:pt idx="211">
                  <c:v>254955</c:v>
                </c:pt>
                <c:pt idx="212">
                  <c:v>255045</c:v>
                </c:pt>
                <c:pt idx="213">
                  <c:v>255436</c:v>
                </c:pt>
                <c:pt idx="214">
                  <c:v>255856</c:v>
                </c:pt>
                <c:pt idx="215">
                  <c:v>256219</c:v>
                </c:pt>
                <c:pt idx="216">
                  <c:v>256556</c:v>
                </c:pt>
                <c:pt idx="217">
                  <c:v>256976</c:v>
                </c:pt>
                <c:pt idx="218">
                  <c:v>257098</c:v>
                </c:pt>
                <c:pt idx="219">
                  <c:v>257201</c:v>
                </c:pt>
                <c:pt idx="220">
                  <c:v>257484</c:v>
                </c:pt>
                <c:pt idx="221">
                  <c:v>257752</c:v>
                </c:pt>
                <c:pt idx="222">
                  <c:v>258066</c:v>
                </c:pt>
                <c:pt idx="223">
                  <c:v>258333</c:v>
                </c:pt>
                <c:pt idx="224">
                  <c:v>258614</c:v>
                </c:pt>
                <c:pt idx="225">
                  <c:v>258687</c:v>
                </c:pt>
                <c:pt idx="226">
                  <c:v>258751</c:v>
                </c:pt>
                <c:pt idx="227">
                  <c:v>258962</c:v>
                </c:pt>
                <c:pt idx="228">
                  <c:v>259172</c:v>
                </c:pt>
                <c:pt idx="229">
                  <c:v>259335</c:v>
                </c:pt>
                <c:pt idx="230">
                  <c:v>259569</c:v>
                </c:pt>
                <c:pt idx="231">
                  <c:v>259761</c:v>
                </c:pt>
                <c:pt idx="232">
                  <c:v>259818</c:v>
                </c:pt>
                <c:pt idx="233">
                  <c:v>259864</c:v>
                </c:pt>
                <c:pt idx="234">
                  <c:v>260045</c:v>
                </c:pt>
                <c:pt idx="235">
                  <c:v>260227</c:v>
                </c:pt>
                <c:pt idx="236">
                  <c:v>260395</c:v>
                </c:pt>
                <c:pt idx="237">
                  <c:v>260559</c:v>
                </c:pt>
                <c:pt idx="238">
                  <c:v>260805</c:v>
                </c:pt>
                <c:pt idx="239">
                  <c:v>260847</c:v>
                </c:pt>
                <c:pt idx="240">
                  <c:v>260880</c:v>
                </c:pt>
                <c:pt idx="241">
                  <c:v>261082</c:v>
                </c:pt>
                <c:pt idx="242">
                  <c:v>261274</c:v>
                </c:pt>
                <c:pt idx="243">
                  <c:v>261441</c:v>
                </c:pt>
                <c:pt idx="244">
                  <c:v>261603</c:v>
                </c:pt>
                <c:pt idx="245">
                  <c:v>261822</c:v>
                </c:pt>
                <c:pt idx="246">
                  <c:v>261866</c:v>
                </c:pt>
                <c:pt idx="247">
                  <c:v>261899</c:v>
                </c:pt>
                <c:pt idx="248">
                  <c:v>262072</c:v>
                </c:pt>
                <c:pt idx="249">
                  <c:v>262237</c:v>
                </c:pt>
                <c:pt idx="250">
                  <c:v>262363</c:v>
                </c:pt>
                <c:pt idx="251">
                  <c:v>262538</c:v>
                </c:pt>
                <c:pt idx="252">
                  <c:v>262733</c:v>
                </c:pt>
                <c:pt idx="253">
                  <c:v>262768</c:v>
                </c:pt>
                <c:pt idx="254">
                  <c:v>262801</c:v>
                </c:pt>
                <c:pt idx="255">
                  <c:v>262937</c:v>
                </c:pt>
                <c:pt idx="256">
                  <c:v>263027</c:v>
                </c:pt>
                <c:pt idx="257">
                  <c:v>263150</c:v>
                </c:pt>
                <c:pt idx="258">
                  <c:v>263293</c:v>
                </c:pt>
                <c:pt idx="259">
                  <c:v>263439</c:v>
                </c:pt>
                <c:pt idx="260">
                  <c:v>263474</c:v>
                </c:pt>
                <c:pt idx="261">
                  <c:v>263497</c:v>
                </c:pt>
                <c:pt idx="262">
                  <c:v>263608</c:v>
                </c:pt>
                <c:pt idx="263">
                  <c:v>263740</c:v>
                </c:pt>
                <c:pt idx="264">
                  <c:v>263847</c:v>
                </c:pt>
                <c:pt idx="265">
                  <c:v>263968</c:v>
                </c:pt>
                <c:pt idx="266">
                  <c:v>264132</c:v>
                </c:pt>
                <c:pt idx="267">
                  <c:v>264173</c:v>
                </c:pt>
                <c:pt idx="268">
                  <c:v>264186</c:v>
                </c:pt>
                <c:pt idx="269">
                  <c:v>264288</c:v>
                </c:pt>
                <c:pt idx="270">
                  <c:v>264392</c:v>
                </c:pt>
                <c:pt idx="271">
                  <c:v>264489</c:v>
                </c:pt>
                <c:pt idx="272">
                  <c:v>264623</c:v>
                </c:pt>
                <c:pt idx="273">
                  <c:v>264789</c:v>
                </c:pt>
                <c:pt idx="274">
                  <c:v>264821</c:v>
                </c:pt>
                <c:pt idx="275">
                  <c:v>264831</c:v>
                </c:pt>
                <c:pt idx="276">
                  <c:v>264928</c:v>
                </c:pt>
                <c:pt idx="277">
                  <c:v>264936</c:v>
                </c:pt>
                <c:pt idx="278">
                  <c:v>265021</c:v>
                </c:pt>
                <c:pt idx="279">
                  <c:v>265121</c:v>
                </c:pt>
                <c:pt idx="280">
                  <c:v>265213</c:v>
                </c:pt>
                <c:pt idx="281">
                  <c:v>265234</c:v>
                </c:pt>
                <c:pt idx="282">
                  <c:v>265248</c:v>
                </c:pt>
                <c:pt idx="283">
                  <c:v>265315</c:v>
                </c:pt>
                <c:pt idx="284">
                  <c:v>265398</c:v>
                </c:pt>
                <c:pt idx="285">
                  <c:v>265497</c:v>
                </c:pt>
                <c:pt idx="286">
                  <c:v>265567</c:v>
                </c:pt>
                <c:pt idx="287">
                  <c:v>265679</c:v>
                </c:pt>
                <c:pt idx="288">
                  <c:v>265704</c:v>
                </c:pt>
                <c:pt idx="289">
                  <c:v>265716</c:v>
                </c:pt>
                <c:pt idx="290">
                  <c:v>265792</c:v>
                </c:pt>
                <c:pt idx="291">
                  <c:v>265877</c:v>
                </c:pt>
                <c:pt idx="292">
                  <c:v>265958</c:v>
                </c:pt>
                <c:pt idx="293">
                  <c:v>266027</c:v>
                </c:pt>
                <c:pt idx="294">
                  <c:v>266148</c:v>
                </c:pt>
                <c:pt idx="295">
                  <c:v>266179</c:v>
                </c:pt>
                <c:pt idx="296">
                  <c:v>266209</c:v>
                </c:pt>
                <c:pt idx="297">
                  <c:v>266340</c:v>
                </c:pt>
                <c:pt idx="298">
                  <c:v>266435</c:v>
                </c:pt>
                <c:pt idx="299">
                  <c:v>266566</c:v>
                </c:pt>
                <c:pt idx="300">
                  <c:v>266805</c:v>
                </c:pt>
                <c:pt idx="301">
                  <c:v>267112</c:v>
                </c:pt>
                <c:pt idx="302">
                  <c:v>267195</c:v>
                </c:pt>
                <c:pt idx="303">
                  <c:v>267259</c:v>
                </c:pt>
                <c:pt idx="304">
                  <c:v>267521</c:v>
                </c:pt>
                <c:pt idx="305">
                  <c:v>267883</c:v>
                </c:pt>
                <c:pt idx="306">
                  <c:v>268302</c:v>
                </c:pt>
                <c:pt idx="307">
                  <c:v>268386</c:v>
                </c:pt>
                <c:pt idx="308">
                  <c:v>268765</c:v>
                </c:pt>
                <c:pt idx="309">
                  <c:v>268873</c:v>
                </c:pt>
                <c:pt idx="310">
                  <c:v>268943</c:v>
                </c:pt>
                <c:pt idx="311">
                  <c:v>269359</c:v>
                </c:pt>
                <c:pt idx="312">
                  <c:v>269777</c:v>
                </c:pt>
                <c:pt idx="313">
                  <c:v>270195</c:v>
                </c:pt>
                <c:pt idx="314">
                  <c:v>270694</c:v>
                </c:pt>
                <c:pt idx="315">
                  <c:v>271257</c:v>
                </c:pt>
                <c:pt idx="316">
                  <c:v>271412</c:v>
                </c:pt>
                <c:pt idx="317">
                  <c:v>271506</c:v>
                </c:pt>
                <c:pt idx="318">
                  <c:v>271905</c:v>
                </c:pt>
                <c:pt idx="319">
                  <c:v>272245</c:v>
                </c:pt>
                <c:pt idx="320">
                  <c:v>272630</c:v>
                </c:pt>
                <c:pt idx="321">
                  <c:v>273029</c:v>
                </c:pt>
                <c:pt idx="322">
                  <c:v>273564</c:v>
                </c:pt>
                <c:pt idx="323">
                  <c:v>273688</c:v>
                </c:pt>
                <c:pt idx="324">
                  <c:v>273774</c:v>
                </c:pt>
                <c:pt idx="325">
                  <c:v>274194</c:v>
                </c:pt>
                <c:pt idx="326">
                  <c:v>274663</c:v>
                </c:pt>
                <c:pt idx="327">
                  <c:v>274767</c:v>
                </c:pt>
                <c:pt idx="328">
                  <c:v>275276</c:v>
                </c:pt>
                <c:pt idx="329">
                  <c:v>275899</c:v>
                </c:pt>
                <c:pt idx="330">
                  <c:v>276095</c:v>
                </c:pt>
                <c:pt idx="331">
                  <c:v>276237</c:v>
                </c:pt>
                <c:pt idx="332">
                  <c:v>276658</c:v>
                </c:pt>
                <c:pt idx="333">
                  <c:v>277079</c:v>
                </c:pt>
                <c:pt idx="334">
                  <c:v>277540</c:v>
                </c:pt>
                <c:pt idx="335">
                  <c:v>278017</c:v>
                </c:pt>
                <c:pt idx="336">
                  <c:v>278534</c:v>
                </c:pt>
                <c:pt idx="337">
                  <c:v>278684</c:v>
                </c:pt>
                <c:pt idx="338">
                  <c:v>278735</c:v>
                </c:pt>
                <c:pt idx="339">
                  <c:v>279085</c:v>
                </c:pt>
                <c:pt idx="340">
                  <c:v>279419</c:v>
                </c:pt>
                <c:pt idx="341">
                  <c:v>279768</c:v>
                </c:pt>
                <c:pt idx="342">
                  <c:v>280022</c:v>
                </c:pt>
                <c:pt idx="343">
                  <c:v>280286</c:v>
                </c:pt>
                <c:pt idx="344">
                  <c:v>280339</c:v>
                </c:pt>
                <c:pt idx="345">
                  <c:v>280359</c:v>
                </c:pt>
                <c:pt idx="346">
                  <c:v>280549</c:v>
                </c:pt>
                <c:pt idx="347">
                  <c:v>280729</c:v>
                </c:pt>
                <c:pt idx="348">
                  <c:v>280938</c:v>
                </c:pt>
                <c:pt idx="349">
                  <c:v>281106</c:v>
                </c:pt>
                <c:pt idx="350">
                  <c:v>281294</c:v>
                </c:pt>
                <c:pt idx="351">
                  <c:v>281330</c:v>
                </c:pt>
                <c:pt idx="352">
                  <c:v>281356</c:v>
                </c:pt>
                <c:pt idx="353">
                  <c:v>281531</c:v>
                </c:pt>
                <c:pt idx="354">
                  <c:v>281677</c:v>
                </c:pt>
                <c:pt idx="355">
                  <c:v>281815</c:v>
                </c:pt>
                <c:pt idx="356">
                  <c:v>281987</c:v>
                </c:pt>
                <c:pt idx="357">
                  <c:v>282178</c:v>
                </c:pt>
                <c:pt idx="358">
                  <c:v>282233</c:v>
                </c:pt>
                <c:pt idx="359">
                  <c:v>282248</c:v>
                </c:pt>
                <c:pt idx="360">
                  <c:v>282371</c:v>
                </c:pt>
                <c:pt idx="361">
                  <c:v>282476</c:v>
                </c:pt>
                <c:pt idx="362">
                  <c:v>282567</c:v>
                </c:pt>
                <c:pt idx="363">
                  <c:v>282599</c:v>
                </c:pt>
                <c:pt idx="364">
                  <c:v>282600</c:v>
                </c:pt>
                <c:pt idx="365">
                  <c:v>282662</c:v>
                </c:pt>
                <c:pt idx="366">
                  <c:v>282732</c:v>
                </c:pt>
                <c:pt idx="367">
                  <c:v>282800</c:v>
                </c:pt>
                <c:pt idx="368">
                  <c:v>282873</c:v>
                </c:pt>
                <c:pt idx="369">
                  <c:v>282881</c:v>
                </c:pt>
                <c:pt idx="370">
                  <c:v>282888</c:v>
                </c:pt>
                <c:pt idx="371">
                  <c:v>282970</c:v>
                </c:pt>
                <c:pt idx="372">
                  <c:v>283049</c:v>
                </c:pt>
                <c:pt idx="373">
                  <c:v>283152</c:v>
                </c:pt>
                <c:pt idx="374">
                  <c:v>283267</c:v>
                </c:pt>
                <c:pt idx="375">
                  <c:v>283445</c:v>
                </c:pt>
                <c:pt idx="376">
                  <c:v>283467</c:v>
                </c:pt>
                <c:pt idx="377">
                  <c:v>283485</c:v>
                </c:pt>
                <c:pt idx="378">
                  <c:v>283571</c:v>
                </c:pt>
                <c:pt idx="379">
                  <c:v>283666</c:v>
                </c:pt>
                <c:pt idx="380">
                  <c:v>283773</c:v>
                </c:pt>
                <c:pt idx="381">
                  <c:v>283892</c:v>
                </c:pt>
                <c:pt idx="382">
                  <c:v>284048</c:v>
                </c:pt>
                <c:pt idx="383">
                  <c:v>284085</c:v>
                </c:pt>
                <c:pt idx="384">
                  <c:v>284101</c:v>
                </c:pt>
                <c:pt idx="385">
                  <c:v>284194</c:v>
                </c:pt>
                <c:pt idx="386">
                  <c:v>284299</c:v>
                </c:pt>
                <c:pt idx="387">
                  <c:v>284368</c:v>
                </c:pt>
                <c:pt idx="388">
                  <c:v>284430</c:v>
                </c:pt>
                <c:pt idx="389">
                  <c:v>284526</c:v>
                </c:pt>
                <c:pt idx="390">
                  <c:v>284534</c:v>
                </c:pt>
                <c:pt idx="391">
                  <c:v>284542</c:v>
                </c:pt>
                <c:pt idx="392">
                  <c:v>284582</c:v>
                </c:pt>
                <c:pt idx="393">
                  <c:v>284622</c:v>
                </c:pt>
                <c:pt idx="394">
                  <c:v>284666</c:v>
                </c:pt>
                <c:pt idx="395">
                  <c:v>284703</c:v>
                </c:pt>
                <c:pt idx="396">
                  <c:v>284766</c:v>
                </c:pt>
                <c:pt idx="397">
                  <c:v>284780</c:v>
                </c:pt>
                <c:pt idx="398">
                  <c:v>284783</c:v>
                </c:pt>
                <c:pt idx="399">
                  <c:v>284807</c:v>
                </c:pt>
                <c:pt idx="400">
                  <c:v>284827</c:v>
                </c:pt>
                <c:pt idx="401">
                  <c:v>284851</c:v>
                </c:pt>
                <c:pt idx="402">
                  <c:v>284872</c:v>
                </c:pt>
                <c:pt idx="403">
                  <c:v>284904</c:v>
                </c:pt>
                <c:pt idx="404">
                  <c:v>284906</c:v>
                </c:pt>
                <c:pt idx="405">
                  <c:v>284907</c:v>
                </c:pt>
                <c:pt idx="406">
                  <c:v>284921</c:v>
                </c:pt>
                <c:pt idx="407">
                  <c:v>284933</c:v>
                </c:pt>
                <c:pt idx="408">
                  <c:v>284943</c:v>
                </c:pt>
                <c:pt idx="409">
                  <c:v>284957</c:v>
                </c:pt>
                <c:pt idx="410">
                  <c:v>284981</c:v>
                </c:pt>
                <c:pt idx="411">
                  <c:v>284982</c:v>
                </c:pt>
                <c:pt idx="412">
                  <c:v>284988</c:v>
                </c:pt>
                <c:pt idx="413">
                  <c:v>284998</c:v>
                </c:pt>
                <c:pt idx="414">
                  <c:v>285006</c:v>
                </c:pt>
                <c:pt idx="415">
                  <c:v>285011</c:v>
                </c:pt>
                <c:pt idx="416">
                  <c:v>285015</c:v>
                </c:pt>
                <c:pt idx="417">
                  <c:v>285017</c:v>
                </c:pt>
                <c:pt idx="418">
                  <c:v>285024</c:v>
                </c:pt>
                <c:pt idx="419">
                  <c:v>285026</c:v>
                </c:pt>
                <c:pt idx="420">
                  <c:v>285029</c:v>
                </c:pt>
                <c:pt idx="421">
                  <c:v>285033</c:v>
                </c:pt>
                <c:pt idx="422">
                  <c:v>285041</c:v>
                </c:pt>
                <c:pt idx="423">
                  <c:v>285043</c:v>
                </c:pt>
                <c:pt idx="424">
                  <c:v>285050</c:v>
                </c:pt>
                <c:pt idx="425">
                  <c:v>285053</c:v>
                </c:pt>
                <c:pt idx="426">
                  <c:v>285055</c:v>
                </c:pt>
                <c:pt idx="427">
                  <c:v>28507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39B2-46E3-85FE-A83BCF6CC085}"/>
            </c:ext>
          </c:extLst>
        </c:ser>
        <c:ser>
          <c:idx val="1"/>
          <c:order val="1"/>
          <c:tx>
            <c:strRef>
              <c:f>List1!$A$3</c:f>
              <c:strCache>
                <c:ptCount val="1"/>
                <c:pt idx="0">
                  <c:v>Sestry</c:v>
                </c:pt>
              </c:strCache>
            </c:strRef>
          </c:tx>
          <c:spPr>
            <a:ln w="28575" cap="rnd">
              <a:solidFill>
                <a:srgbClr val="ED7D31"/>
              </a:solidFill>
              <a:round/>
            </a:ln>
            <a:effectLst/>
          </c:spPr>
          <c:marker>
            <c:symbol val="none"/>
          </c:marker>
          <c:cat>
            <c:strRef>
              <c:f>List1!$G$1:$PR$1</c:f>
              <c:strCache>
                <c:ptCount val="428"/>
                <c:pt idx="0">
                  <c:v>25-XII.20</c:v>
                </c:pt>
                <c:pt idx="1">
                  <c:v>26-XII.20</c:v>
                </c:pt>
                <c:pt idx="2">
                  <c:v>27.XII.20</c:v>
                </c:pt>
                <c:pt idx="3">
                  <c:v>28.XII.20</c:v>
                </c:pt>
                <c:pt idx="4">
                  <c:v>29.XII.20</c:v>
                </c:pt>
                <c:pt idx="5">
                  <c:v>30.XII.20</c:v>
                </c:pt>
                <c:pt idx="6">
                  <c:v>31.XII.20</c:v>
                </c:pt>
                <c:pt idx="7">
                  <c:v>1.I.21</c:v>
                </c:pt>
                <c:pt idx="8">
                  <c:v>2.I.21</c:v>
                </c:pt>
                <c:pt idx="9">
                  <c:v>3.I.21</c:v>
                </c:pt>
                <c:pt idx="10">
                  <c:v>4.I.21</c:v>
                </c:pt>
                <c:pt idx="11">
                  <c:v>5.I.21</c:v>
                </c:pt>
                <c:pt idx="12">
                  <c:v>6.I.21</c:v>
                </c:pt>
                <c:pt idx="13">
                  <c:v>7.I.21</c:v>
                </c:pt>
                <c:pt idx="14">
                  <c:v>8.I.21</c:v>
                </c:pt>
                <c:pt idx="15">
                  <c:v>9.I.21</c:v>
                </c:pt>
                <c:pt idx="16">
                  <c:v>10.I.21</c:v>
                </c:pt>
                <c:pt idx="17">
                  <c:v>11.I.21</c:v>
                </c:pt>
                <c:pt idx="18">
                  <c:v>12.I.21</c:v>
                </c:pt>
                <c:pt idx="19">
                  <c:v>13.I.21</c:v>
                </c:pt>
                <c:pt idx="20">
                  <c:v>14.I.21</c:v>
                </c:pt>
                <c:pt idx="21">
                  <c:v>15.I.21</c:v>
                </c:pt>
                <c:pt idx="22">
                  <c:v>16.I.21</c:v>
                </c:pt>
                <c:pt idx="23">
                  <c:v>17.I.21</c:v>
                </c:pt>
                <c:pt idx="24">
                  <c:v>18.I.21</c:v>
                </c:pt>
                <c:pt idx="25">
                  <c:v>19.I.21</c:v>
                </c:pt>
                <c:pt idx="26">
                  <c:v>20.I.21</c:v>
                </c:pt>
                <c:pt idx="27">
                  <c:v>21.I.21</c:v>
                </c:pt>
                <c:pt idx="28">
                  <c:v>22.I.21</c:v>
                </c:pt>
                <c:pt idx="29">
                  <c:v>23.I.21</c:v>
                </c:pt>
                <c:pt idx="30">
                  <c:v>24.I.21</c:v>
                </c:pt>
                <c:pt idx="31">
                  <c:v>25.I.21</c:v>
                </c:pt>
                <c:pt idx="32">
                  <c:v>26.I.21</c:v>
                </c:pt>
                <c:pt idx="33">
                  <c:v>27.I.21</c:v>
                </c:pt>
                <c:pt idx="34">
                  <c:v>28.I.21</c:v>
                </c:pt>
                <c:pt idx="35">
                  <c:v>29.I.21</c:v>
                </c:pt>
                <c:pt idx="36">
                  <c:v>30.I.21</c:v>
                </c:pt>
                <c:pt idx="37">
                  <c:v>31.I.21</c:v>
                </c:pt>
                <c:pt idx="38">
                  <c:v>1.II.21</c:v>
                </c:pt>
                <c:pt idx="39">
                  <c:v>2.II.21</c:v>
                </c:pt>
                <c:pt idx="40">
                  <c:v>3.II.21</c:v>
                </c:pt>
                <c:pt idx="41">
                  <c:v>4.II.21</c:v>
                </c:pt>
                <c:pt idx="42">
                  <c:v>5.II.21</c:v>
                </c:pt>
                <c:pt idx="43">
                  <c:v>6.II.21</c:v>
                </c:pt>
                <c:pt idx="44">
                  <c:v>7.II.21</c:v>
                </c:pt>
                <c:pt idx="45">
                  <c:v>8.II.21</c:v>
                </c:pt>
                <c:pt idx="46">
                  <c:v>9.II.21</c:v>
                </c:pt>
                <c:pt idx="47">
                  <c:v>10.II.21</c:v>
                </c:pt>
                <c:pt idx="48">
                  <c:v>11.II.21</c:v>
                </c:pt>
                <c:pt idx="49">
                  <c:v>12.II.21</c:v>
                </c:pt>
                <c:pt idx="50">
                  <c:v>13.II.21</c:v>
                </c:pt>
                <c:pt idx="51">
                  <c:v>14.II.21</c:v>
                </c:pt>
                <c:pt idx="52">
                  <c:v>15.II.21</c:v>
                </c:pt>
                <c:pt idx="53">
                  <c:v>16.II.21</c:v>
                </c:pt>
                <c:pt idx="54">
                  <c:v>17.II.21</c:v>
                </c:pt>
                <c:pt idx="55">
                  <c:v>18.II.21</c:v>
                </c:pt>
                <c:pt idx="56">
                  <c:v>19.II.21</c:v>
                </c:pt>
                <c:pt idx="57">
                  <c:v>20.II.21</c:v>
                </c:pt>
                <c:pt idx="58">
                  <c:v>21.II.21</c:v>
                </c:pt>
                <c:pt idx="59">
                  <c:v>22.II.21</c:v>
                </c:pt>
                <c:pt idx="60">
                  <c:v>23.II.21</c:v>
                </c:pt>
                <c:pt idx="61">
                  <c:v>24.II.21</c:v>
                </c:pt>
                <c:pt idx="62">
                  <c:v>25.II.21</c:v>
                </c:pt>
                <c:pt idx="63">
                  <c:v>26.II.21</c:v>
                </c:pt>
                <c:pt idx="64">
                  <c:v>27.II.21</c:v>
                </c:pt>
                <c:pt idx="65">
                  <c:v>28.II.21</c:v>
                </c:pt>
                <c:pt idx="66">
                  <c:v>1.III.21</c:v>
                </c:pt>
                <c:pt idx="67">
                  <c:v>2.III.21</c:v>
                </c:pt>
                <c:pt idx="68">
                  <c:v>3.III.21</c:v>
                </c:pt>
                <c:pt idx="69">
                  <c:v>4.III.21</c:v>
                </c:pt>
                <c:pt idx="70">
                  <c:v>5.III.21</c:v>
                </c:pt>
                <c:pt idx="71">
                  <c:v>6.III.21</c:v>
                </c:pt>
                <c:pt idx="72">
                  <c:v>7.III.21</c:v>
                </c:pt>
                <c:pt idx="73">
                  <c:v>8.III.21</c:v>
                </c:pt>
                <c:pt idx="74">
                  <c:v>9.III.21</c:v>
                </c:pt>
                <c:pt idx="75">
                  <c:v>10.III.21</c:v>
                </c:pt>
                <c:pt idx="76">
                  <c:v>11.III.21</c:v>
                </c:pt>
                <c:pt idx="77">
                  <c:v>12.III.21</c:v>
                </c:pt>
                <c:pt idx="78">
                  <c:v>13.III.21</c:v>
                </c:pt>
                <c:pt idx="79">
                  <c:v>14.III.21</c:v>
                </c:pt>
                <c:pt idx="80">
                  <c:v>15.III.21</c:v>
                </c:pt>
                <c:pt idx="81">
                  <c:v>16.III.21</c:v>
                </c:pt>
                <c:pt idx="82">
                  <c:v>17.III.21</c:v>
                </c:pt>
                <c:pt idx="83">
                  <c:v>18.III.21</c:v>
                </c:pt>
                <c:pt idx="84">
                  <c:v>19.III.21</c:v>
                </c:pt>
                <c:pt idx="85">
                  <c:v>20.III.21</c:v>
                </c:pt>
                <c:pt idx="86">
                  <c:v>21.III.21</c:v>
                </c:pt>
                <c:pt idx="87">
                  <c:v>22.III.21</c:v>
                </c:pt>
                <c:pt idx="88">
                  <c:v>23.III.21</c:v>
                </c:pt>
                <c:pt idx="89">
                  <c:v>24.III.21</c:v>
                </c:pt>
                <c:pt idx="90">
                  <c:v>25.III.21</c:v>
                </c:pt>
                <c:pt idx="91">
                  <c:v>26.III.21</c:v>
                </c:pt>
                <c:pt idx="92">
                  <c:v>27.III.21</c:v>
                </c:pt>
                <c:pt idx="93">
                  <c:v>28.III.21</c:v>
                </c:pt>
                <c:pt idx="94">
                  <c:v>29.III.21</c:v>
                </c:pt>
                <c:pt idx="95">
                  <c:v>30.III.21</c:v>
                </c:pt>
                <c:pt idx="96">
                  <c:v>31.III.21</c:v>
                </c:pt>
                <c:pt idx="97">
                  <c:v>1.IV.21</c:v>
                </c:pt>
                <c:pt idx="98">
                  <c:v>2.IV.21</c:v>
                </c:pt>
                <c:pt idx="99">
                  <c:v>3.IV.21</c:v>
                </c:pt>
                <c:pt idx="100">
                  <c:v>4.IV.21</c:v>
                </c:pt>
                <c:pt idx="101">
                  <c:v>5.IV.21</c:v>
                </c:pt>
                <c:pt idx="102">
                  <c:v>6.IV.21</c:v>
                </c:pt>
                <c:pt idx="103">
                  <c:v>7.IV.21</c:v>
                </c:pt>
                <c:pt idx="104">
                  <c:v>8.IV.21</c:v>
                </c:pt>
                <c:pt idx="105">
                  <c:v>9.IV.21</c:v>
                </c:pt>
                <c:pt idx="106">
                  <c:v>10.IV.21</c:v>
                </c:pt>
                <c:pt idx="107">
                  <c:v>11.IV.21</c:v>
                </c:pt>
                <c:pt idx="108">
                  <c:v>12.IV.21</c:v>
                </c:pt>
                <c:pt idx="109">
                  <c:v>13.IV.21</c:v>
                </c:pt>
                <c:pt idx="110">
                  <c:v>14.IV.21</c:v>
                </c:pt>
                <c:pt idx="111">
                  <c:v>15.IV.21</c:v>
                </c:pt>
                <c:pt idx="112">
                  <c:v>16.IV.21</c:v>
                </c:pt>
                <c:pt idx="113">
                  <c:v>17.IV.21</c:v>
                </c:pt>
                <c:pt idx="114">
                  <c:v>18.IV.21</c:v>
                </c:pt>
                <c:pt idx="115">
                  <c:v>19.IV.21</c:v>
                </c:pt>
                <c:pt idx="116">
                  <c:v>20.IV.21</c:v>
                </c:pt>
                <c:pt idx="117">
                  <c:v>21.IV.21</c:v>
                </c:pt>
                <c:pt idx="118">
                  <c:v>22.IV.21</c:v>
                </c:pt>
                <c:pt idx="119">
                  <c:v>23.IV.21</c:v>
                </c:pt>
                <c:pt idx="120">
                  <c:v>24.IV.21</c:v>
                </c:pt>
                <c:pt idx="121">
                  <c:v>25.IV.21</c:v>
                </c:pt>
                <c:pt idx="122">
                  <c:v>26.IV.21</c:v>
                </c:pt>
                <c:pt idx="123">
                  <c:v>27.IV.21</c:v>
                </c:pt>
                <c:pt idx="124">
                  <c:v>28.IV.21</c:v>
                </c:pt>
                <c:pt idx="125">
                  <c:v>29.IV.21</c:v>
                </c:pt>
                <c:pt idx="126">
                  <c:v>30.IV.21</c:v>
                </c:pt>
                <c:pt idx="127">
                  <c:v>1.V.21</c:v>
                </c:pt>
                <c:pt idx="128">
                  <c:v>2.V.21</c:v>
                </c:pt>
                <c:pt idx="129">
                  <c:v>3.V.21</c:v>
                </c:pt>
                <c:pt idx="130">
                  <c:v>4.V.21</c:v>
                </c:pt>
                <c:pt idx="131">
                  <c:v>5.V.21</c:v>
                </c:pt>
                <c:pt idx="132">
                  <c:v>6.V.21</c:v>
                </c:pt>
                <c:pt idx="133">
                  <c:v>7.V.21</c:v>
                </c:pt>
                <c:pt idx="134">
                  <c:v>8.V.21</c:v>
                </c:pt>
                <c:pt idx="135">
                  <c:v>9.V.21</c:v>
                </c:pt>
                <c:pt idx="136">
                  <c:v>10.V.21</c:v>
                </c:pt>
                <c:pt idx="137">
                  <c:v>11.V.21</c:v>
                </c:pt>
                <c:pt idx="138">
                  <c:v>12.V.21</c:v>
                </c:pt>
                <c:pt idx="139">
                  <c:v>13.V.21</c:v>
                </c:pt>
                <c:pt idx="140">
                  <c:v>14.V.21</c:v>
                </c:pt>
                <c:pt idx="141">
                  <c:v>15.V.21</c:v>
                </c:pt>
                <c:pt idx="142">
                  <c:v>16.V.21</c:v>
                </c:pt>
                <c:pt idx="143">
                  <c:v>17.V.21</c:v>
                </c:pt>
                <c:pt idx="144">
                  <c:v>18.V.21</c:v>
                </c:pt>
                <c:pt idx="145">
                  <c:v>19.V.21</c:v>
                </c:pt>
                <c:pt idx="146">
                  <c:v>20.V.21</c:v>
                </c:pt>
                <c:pt idx="147">
                  <c:v>21.V.21</c:v>
                </c:pt>
                <c:pt idx="148">
                  <c:v>22.V.21</c:v>
                </c:pt>
                <c:pt idx="149">
                  <c:v>23.V.21</c:v>
                </c:pt>
                <c:pt idx="150">
                  <c:v>24.V.21</c:v>
                </c:pt>
                <c:pt idx="151">
                  <c:v>25.V.21</c:v>
                </c:pt>
                <c:pt idx="152">
                  <c:v>26.V.21</c:v>
                </c:pt>
                <c:pt idx="153">
                  <c:v>27.V.21</c:v>
                </c:pt>
                <c:pt idx="154">
                  <c:v>28.V.21</c:v>
                </c:pt>
                <c:pt idx="155">
                  <c:v>29.V.21</c:v>
                </c:pt>
                <c:pt idx="156">
                  <c:v>30.V.21</c:v>
                </c:pt>
                <c:pt idx="157">
                  <c:v>31.V.21</c:v>
                </c:pt>
                <c:pt idx="158">
                  <c:v>1.VI.21</c:v>
                </c:pt>
                <c:pt idx="159">
                  <c:v>2.VI.21</c:v>
                </c:pt>
                <c:pt idx="160">
                  <c:v>3.VI.21</c:v>
                </c:pt>
                <c:pt idx="161">
                  <c:v>4.VI.21</c:v>
                </c:pt>
                <c:pt idx="162">
                  <c:v>5.VI.21</c:v>
                </c:pt>
                <c:pt idx="163">
                  <c:v>6.VI.21</c:v>
                </c:pt>
                <c:pt idx="164">
                  <c:v>7.VI.21</c:v>
                </c:pt>
                <c:pt idx="165">
                  <c:v>8.VI.21</c:v>
                </c:pt>
                <c:pt idx="166">
                  <c:v>9.VI.21</c:v>
                </c:pt>
                <c:pt idx="167">
                  <c:v>10.VI.21</c:v>
                </c:pt>
                <c:pt idx="168">
                  <c:v>11.VI.21</c:v>
                </c:pt>
                <c:pt idx="169">
                  <c:v>12.VI.21</c:v>
                </c:pt>
                <c:pt idx="170">
                  <c:v>13.VI.21</c:v>
                </c:pt>
                <c:pt idx="171">
                  <c:v>14.VI.21</c:v>
                </c:pt>
                <c:pt idx="172">
                  <c:v>15.VI.21</c:v>
                </c:pt>
                <c:pt idx="173">
                  <c:v>16.VI.21</c:v>
                </c:pt>
                <c:pt idx="174">
                  <c:v>17.VI.21</c:v>
                </c:pt>
                <c:pt idx="175">
                  <c:v>18.VI.21</c:v>
                </c:pt>
                <c:pt idx="176">
                  <c:v>19.VI.21</c:v>
                </c:pt>
                <c:pt idx="177">
                  <c:v>20.VI.21</c:v>
                </c:pt>
                <c:pt idx="178">
                  <c:v>21.VI.21</c:v>
                </c:pt>
                <c:pt idx="179">
                  <c:v>22.VI.21</c:v>
                </c:pt>
                <c:pt idx="180">
                  <c:v>23.VI.21</c:v>
                </c:pt>
                <c:pt idx="181">
                  <c:v>24.VI.21</c:v>
                </c:pt>
                <c:pt idx="182">
                  <c:v>25.VI.21</c:v>
                </c:pt>
                <c:pt idx="183">
                  <c:v>26.VI.21</c:v>
                </c:pt>
                <c:pt idx="184">
                  <c:v>27.VI.21</c:v>
                </c:pt>
                <c:pt idx="185">
                  <c:v>28.VI.21</c:v>
                </c:pt>
                <c:pt idx="186">
                  <c:v>29.VI.21</c:v>
                </c:pt>
                <c:pt idx="187">
                  <c:v>30.VI.21</c:v>
                </c:pt>
                <c:pt idx="188">
                  <c:v>1.VII.21</c:v>
                </c:pt>
                <c:pt idx="189">
                  <c:v>2.VII.21</c:v>
                </c:pt>
                <c:pt idx="190">
                  <c:v>3.VII.21</c:v>
                </c:pt>
                <c:pt idx="191">
                  <c:v>4.VII.21</c:v>
                </c:pt>
                <c:pt idx="192">
                  <c:v>5.VII.21</c:v>
                </c:pt>
                <c:pt idx="193">
                  <c:v>6.VII.21</c:v>
                </c:pt>
                <c:pt idx="194">
                  <c:v>7.VII.21</c:v>
                </c:pt>
                <c:pt idx="195">
                  <c:v>8.VII.21</c:v>
                </c:pt>
                <c:pt idx="196">
                  <c:v>9.VII.21</c:v>
                </c:pt>
                <c:pt idx="197">
                  <c:v>10.VII.21</c:v>
                </c:pt>
                <c:pt idx="198">
                  <c:v>11.VII.21</c:v>
                </c:pt>
                <c:pt idx="199">
                  <c:v>12.VII.21</c:v>
                </c:pt>
                <c:pt idx="200">
                  <c:v>13.VII.21</c:v>
                </c:pt>
                <c:pt idx="201">
                  <c:v>14.VII.21</c:v>
                </c:pt>
                <c:pt idx="202">
                  <c:v>15.VII.21</c:v>
                </c:pt>
                <c:pt idx="203">
                  <c:v>16.VII.21</c:v>
                </c:pt>
                <c:pt idx="204">
                  <c:v>17.VII.21</c:v>
                </c:pt>
                <c:pt idx="205">
                  <c:v>18.VII.21</c:v>
                </c:pt>
                <c:pt idx="206">
                  <c:v>19.VII.21</c:v>
                </c:pt>
                <c:pt idx="207">
                  <c:v>20.VII.21</c:v>
                </c:pt>
                <c:pt idx="208">
                  <c:v>21.VII.21</c:v>
                </c:pt>
                <c:pt idx="209">
                  <c:v>22.VII.21</c:v>
                </c:pt>
                <c:pt idx="210">
                  <c:v>23.VII.21</c:v>
                </c:pt>
                <c:pt idx="211">
                  <c:v>24.VII.21</c:v>
                </c:pt>
                <c:pt idx="212">
                  <c:v>25.VII.21</c:v>
                </c:pt>
                <c:pt idx="213">
                  <c:v>26.VII.21</c:v>
                </c:pt>
                <c:pt idx="214">
                  <c:v>27.VII.21</c:v>
                </c:pt>
                <c:pt idx="215">
                  <c:v>28.VII.21</c:v>
                </c:pt>
                <c:pt idx="216">
                  <c:v>29.VII.21</c:v>
                </c:pt>
                <c:pt idx="217">
                  <c:v>30.VII.21</c:v>
                </c:pt>
                <c:pt idx="218">
                  <c:v>31.VII.21</c:v>
                </c:pt>
                <c:pt idx="219">
                  <c:v>1.VIII.21</c:v>
                </c:pt>
                <c:pt idx="220">
                  <c:v>2.VIII.21</c:v>
                </c:pt>
                <c:pt idx="221">
                  <c:v>3.VIII.21</c:v>
                </c:pt>
                <c:pt idx="222">
                  <c:v>4.VIII.21</c:v>
                </c:pt>
                <c:pt idx="223">
                  <c:v>5.VIII.21</c:v>
                </c:pt>
                <c:pt idx="224">
                  <c:v>6.VIII.21</c:v>
                </c:pt>
                <c:pt idx="225">
                  <c:v>7.VIII.21</c:v>
                </c:pt>
                <c:pt idx="226">
                  <c:v>8.VIII.21</c:v>
                </c:pt>
                <c:pt idx="227">
                  <c:v>9.VIII.21</c:v>
                </c:pt>
                <c:pt idx="228">
                  <c:v>10.VIII.21</c:v>
                </c:pt>
                <c:pt idx="229">
                  <c:v>11.VIII.21</c:v>
                </c:pt>
                <c:pt idx="230">
                  <c:v>12.VIII.21</c:v>
                </c:pt>
                <c:pt idx="231">
                  <c:v>13.VIII.21</c:v>
                </c:pt>
                <c:pt idx="232">
                  <c:v>14.VIII.21</c:v>
                </c:pt>
                <c:pt idx="233">
                  <c:v>15.VIII.21</c:v>
                </c:pt>
                <c:pt idx="234">
                  <c:v>16.VIII.21</c:v>
                </c:pt>
                <c:pt idx="235">
                  <c:v>17.VIII.21</c:v>
                </c:pt>
                <c:pt idx="236">
                  <c:v>18.VIII.21</c:v>
                </c:pt>
                <c:pt idx="237">
                  <c:v>19.VIII.21</c:v>
                </c:pt>
                <c:pt idx="238">
                  <c:v>20.VIII.21</c:v>
                </c:pt>
                <c:pt idx="239">
                  <c:v>21.VIII.21</c:v>
                </c:pt>
                <c:pt idx="240">
                  <c:v>22.VIII.21</c:v>
                </c:pt>
                <c:pt idx="241">
                  <c:v>23.VIII.21</c:v>
                </c:pt>
                <c:pt idx="242">
                  <c:v>24.VIII.21</c:v>
                </c:pt>
                <c:pt idx="243">
                  <c:v>25.VIII.21</c:v>
                </c:pt>
                <c:pt idx="244">
                  <c:v>26.VIII.21</c:v>
                </c:pt>
                <c:pt idx="245">
                  <c:v>27.VIII.21</c:v>
                </c:pt>
                <c:pt idx="246">
                  <c:v>28.VIII.21</c:v>
                </c:pt>
                <c:pt idx="247">
                  <c:v>29.VIII.21</c:v>
                </c:pt>
                <c:pt idx="248">
                  <c:v>30.VIII.21</c:v>
                </c:pt>
                <c:pt idx="249">
                  <c:v>31.VIII.21</c:v>
                </c:pt>
                <c:pt idx="250">
                  <c:v>1.IX.21</c:v>
                </c:pt>
                <c:pt idx="251">
                  <c:v>2.IX.21</c:v>
                </c:pt>
                <c:pt idx="252">
                  <c:v>3.IX.21</c:v>
                </c:pt>
                <c:pt idx="253">
                  <c:v>4.IX.21</c:v>
                </c:pt>
                <c:pt idx="254">
                  <c:v>5.IX.21</c:v>
                </c:pt>
                <c:pt idx="255">
                  <c:v>6.IX.21</c:v>
                </c:pt>
                <c:pt idx="256">
                  <c:v>7.IX.21</c:v>
                </c:pt>
                <c:pt idx="257">
                  <c:v>8.IX.21</c:v>
                </c:pt>
                <c:pt idx="258">
                  <c:v>9.IX.21</c:v>
                </c:pt>
                <c:pt idx="259">
                  <c:v>10.IX.21</c:v>
                </c:pt>
                <c:pt idx="260">
                  <c:v>11.IX.21</c:v>
                </c:pt>
                <c:pt idx="261">
                  <c:v>12.IX.21</c:v>
                </c:pt>
                <c:pt idx="262">
                  <c:v>13.IX.21</c:v>
                </c:pt>
                <c:pt idx="263">
                  <c:v>14.IX.21</c:v>
                </c:pt>
                <c:pt idx="264">
                  <c:v>15.IX.21</c:v>
                </c:pt>
                <c:pt idx="265">
                  <c:v>16.IX.21</c:v>
                </c:pt>
                <c:pt idx="266">
                  <c:v>17.IX.21</c:v>
                </c:pt>
                <c:pt idx="267">
                  <c:v>18.IX.21</c:v>
                </c:pt>
                <c:pt idx="268">
                  <c:v>19.IX.21</c:v>
                </c:pt>
                <c:pt idx="269">
                  <c:v>20.IX.21</c:v>
                </c:pt>
                <c:pt idx="270">
                  <c:v>21.IX.21</c:v>
                </c:pt>
                <c:pt idx="271">
                  <c:v>22.IX.21</c:v>
                </c:pt>
                <c:pt idx="272">
                  <c:v>23.IX.21</c:v>
                </c:pt>
                <c:pt idx="273">
                  <c:v>24.IX.21</c:v>
                </c:pt>
                <c:pt idx="274">
                  <c:v>25.IX.21</c:v>
                </c:pt>
                <c:pt idx="275">
                  <c:v>26.IX.21</c:v>
                </c:pt>
                <c:pt idx="276">
                  <c:v>27.IX.21</c:v>
                </c:pt>
                <c:pt idx="277">
                  <c:v>28.IX.21</c:v>
                </c:pt>
                <c:pt idx="278">
                  <c:v>29.IX.21</c:v>
                </c:pt>
                <c:pt idx="279">
                  <c:v>30.IX.21</c:v>
                </c:pt>
                <c:pt idx="280">
                  <c:v>1.X.21</c:v>
                </c:pt>
                <c:pt idx="281">
                  <c:v>2.X.21</c:v>
                </c:pt>
                <c:pt idx="282">
                  <c:v>3.X.21</c:v>
                </c:pt>
                <c:pt idx="283">
                  <c:v>4.X.21</c:v>
                </c:pt>
                <c:pt idx="284">
                  <c:v>5.X.21</c:v>
                </c:pt>
                <c:pt idx="285">
                  <c:v>6.X.21</c:v>
                </c:pt>
                <c:pt idx="286">
                  <c:v>7.X.21</c:v>
                </c:pt>
                <c:pt idx="287">
                  <c:v>8.X.21</c:v>
                </c:pt>
                <c:pt idx="288">
                  <c:v>9.X.21</c:v>
                </c:pt>
                <c:pt idx="289">
                  <c:v>10.X.21</c:v>
                </c:pt>
                <c:pt idx="290">
                  <c:v>11.X.21</c:v>
                </c:pt>
                <c:pt idx="291">
                  <c:v>12.X.21</c:v>
                </c:pt>
                <c:pt idx="292">
                  <c:v>13.X.21</c:v>
                </c:pt>
                <c:pt idx="293">
                  <c:v>14.X.21</c:v>
                </c:pt>
                <c:pt idx="294">
                  <c:v>15.X.21</c:v>
                </c:pt>
                <c:pt idx="295">
                  <c:v>16.X.21</c:v>
                </c:pt>
                <c:pt idx="296">
                  <c:v>17.X.21</c:v>
                </c:pt>
                <c:pt idx="297">
                  <c:v>18.X.21</c:v>
                </c:pt>
                <c:pt idx="298">
                  <c:v>19.X.21</c:v>
                </c:pt>
                <c:pt idx="299">
                  <c:v>20.X.21</c:v>
                </c:pt>
                <c:pt idx="300">
                  <c:v>21.X.21</c:v>
                </c:pt>
                <c:pt idx="301">
                  <c:v>22.X.21</c:v>
                </c:pt>
                <c:pt idx="302">
                  <c:v>23.X.21</c:v>
                </c:pt>
                <c:pt idx="303">
                  <c:v>24.X.21</c:v>
                </c:pt>
                <c:pt idx="304">
                  <c:v>25.X.21</c:v>
                </c:pt>
                <c:pt idx="305">
                  <c:v>26.X.21</c:v>
                </c:pt>
                <c:pt idx="306">
                  <c:v>27.X.21</c:v>
                </c:pt>
                <c:pt idx="307">
                  <c:v>28.X.21</c:v>
                </c:pt>
                <c:pt idx="308">
                  <c:v>29.X.21</c:v>
                </c:pt>
                <c:pt idx="309">
                  <c:v>30.X.21</c:v>
                </c:pt>
                <c:pt idx="310">
                  <c:v>31.X.21</c:v>
                </c:pt>
                <c:pt idx="311">
                  <c:v>1.XI.21</c:v>
                </c:pt>
                <c:pt idx="312">
                  <c:v>2.XI.21</c:v>
                </c:pt>
                <c:pt idx="313">
                  <c:v>3.XI.21</c:v>
                </c:pt>
                <c:pt idx="314">
                  <c:v>4.XI.21</c:v>
                </c:pt>
                <c:pt idx="315">
                  <c:v>5.XI.21</c:v>
                </c:pt>
                <c:pt idx="316">
                  <c:v>6.XI.21</c:v>
                </c:pt>
                <c:pt idx="317">
                  <c:v>7.XI.21</c:v>
                </c:pt>
                <c:pt idx="318">
                  <c:v>8.XI.21</c:v>
                </c:pt>
                <c:pt idx="319">
                  <c:v>9.XI.21</c:v>
                </c:pt>
                <c:pt idx="320">
                  <c:v>10.XI.21</c:v>
                </c:pt>
                <c:pt idx="321">
                  <c:v>11.XI.21</c:v>
                </c:pt>
                <c:pt idx="322">
                  <c:v>12.XI.21</c:v>
                </c:pt>
                <c:pt idx="323">
                  <c:v>13.XI.21</c:v>
                </c:pt>
                <c:pt idx="324">
                  <c:v>14.XI.21</c:v>
                </c:pt>
                <c:pt idx="325">
                  <c:v>15.XI.21</c:v>
                </c:pt>
                <c:pt idx="326">
                  <c:v>16.XI.21</c:v>
                </c:pt>
                <c:pt idx="327">
                  <c:v>17.XI.21</c:v>
                </c:pt>
                <c:pt idx="328">
                  <c:v>18.XI.21</c:v>
                </c:pt>
                <c:pt idx="329">
                  <c:v>19.XI.21</c:v>
                </c:pt>
                <c:pt idx="330">
                  <c:v>20.XI.21</c:v>
                </c:pt>
                <c:pt idx="331">
                  <c:v>21.XI.21</c:v>
                </c:pt>
                <c:pt idx="332">
                  <c:v>22.XI.21</c:v>
                </c:pt>
                <c:pt idx="333">
                  <c:v>23.XI.21</c:v>
                </c:pt>
                <c:pt idx="334">
                  <c:v>24.XI.21</c:v>
                </c:pt>
                <c:pt idx="335">
                  <c:v>25.XI.21</c:v>
                </c:pt>
                <c:pt idx="336">
                  <c:v>26.XI.21</c:v>
                </c:pt>
                <c:pt idx="337">
                  <c:v>27.XI.21</c:v>
                </c:pt>
                <c:pt idx="338">
                  <c:v>28.XI.21</c:v>
                </c:pt>
                <c:pt idx="339">
                  <c:v>29.XI.21</c:v>
                </c:pt>
                <c:pt idx="340">
                  <c:v>30.XI.21</c:v>
                </c:pt>
                <c:pt idx="341">
                  <c:v>1.XII.21</c:v>
                </c:pt>
                <c:pt idx="342">
                  <c:v>2.XII.21</c:v>
                </c:pt>
                <c:pt idx="343">
                  <c:v>3.XII.21</c:v>
                </c:pt>
                <c:pt idx="344">
                  <c:v>4.XII.21</c:v>
                </c:pt>
                <c:pt idx="345">
                  <c:v>5.XII.21</c:v>
                </c:pt>
                <c:pt idx="346">
                  <c:v>6.XII.21</c:v>
                </c:pt>
                <c:pt idx="347">
                  <c:v>7.XII.21</c:v>
                </c:pt>
                <c:pt idx="348">
                  <c:v>8.XII.21</c:v>
                </c:pt>
                <c:pt idx="349">
                  <c:v>9.XII.21</c:v>
                </c:pt>
                <c:pt idx="350">
                  <c:v>10.XII.21</c:v>
                </c:pt>
                <c:pt idx="351">
                  <c:v>11.XII.21</c:v>
                </c:pt>
                <c:pt idx="352">
                  <c:v>12.XII.21</c:v>
                </c:pt>
                <c:pt idx="353">
                  <c:v>13.XII.21</c:v>
                </c:pt>
                <c:pt idx="354">
                  <c:v>14.XII.21</c:v>
                </c:pt>
                <c:pt idx="355">
                  <c:v>15.XII.21</c:v>
                </c:pt>
                <c:pt idx="356">
                  <c:v>16.XII.21</c:v>
                </c:pt>
                <c:pt idx="357">
                  <c:v>17.XII.21</c:v>
                </c:pt>
                <c:pt idx="358">
                  <c:v>18.XII.21</c:v>
                </c:pt>
                <c:pt idx="359">
                  <c:v>19.XII.21</c:v>
                </c:pt>
                <c:pt idx="360">
                  <c:v>20.XII.21</c:v>
                </c:pt>
                <c:pt idx="361">
                  <c:v>21.XII.21</c:v>
                </c:pt>
                <c:pt idx="362">
                  <c:v>22.XII.21</c:v>
                </c:pt>
                <c:pt idx="363">
                  <c:v>23.XII.21</c:v>
                </c:pt>
                <c:pt idx="364">
                  <c:v>24.XII.21</c:v>
                </c:pt>
                <c:pt idx="365">
                  <c:v>27.XII.21</c:v>
                </c:pt>
                <c:pt idx="366">
                  <c:v>28.XII.21</c:v>
                </c:pt>
                <c:pt idx="367">
                  <c:v>29.XII.21</c:v>
                </c:pt>
                <c:pt idx="368">
                  <c:v>30.XII.21</c:v>
                </c:pt>
                <c:pt idx="369">
                  <c:v>31.XII.21</c:v>
                </c:pt>
                <c:pt idx="370">
                  <c:v>2.I.22</c:v>
                </c:pt>
                <c:pt idx="371">
                  <c:v>3.I.22</c:v>
                </c:pt>
                <c:pt idx="372">
                  <c:v>4.I.22</c:v>
                </c:pt>
                <c:pt idx="373">
                  <c:v>5.I.22</c:v>
                </c:pt>
                <c:pt idx="374">
                  <c:v>6.I.22</c:v>
                </c:pt>
                <c:pt idx="375">
                  <c:v>7.I.22</c:v>
                </c:pt>
                <c:pt idx="376">
                  <c:v>8.I.22</c:v>
                </c:pt>
                <c:pt idx="377">
                  <c:v>9.I.22</c:v>
                </c:pt>
                <c:pt idx="378">
                  <c:v>10.I.22</c:v>
                </c:pt>
                <c:pt idx="379">
                  <c:v>11.I.22</c:v>
                </c:pt>
                <c:pt idx="380">
                  <c:v>12.I.22</c:v>
                </c:pt>
                <c:pt idx="381">
                  <c:v>13.I.22</c:v>
                </c:pt>
                <c:pt idx="382">
                  <c:v>14.I.22</c:v>
                </c:pt>
                <c:pt idx="383">
                  <c:v>15.I.22</c:v>
                </c:pt>
                <c:pt idx="384">
                  <c:v>16.I.22</c:v>
                </c:pt>
                <c:pt idx="385">
                  <c:v>17.I.22</c:v>
                </c:pt>
                <c:pt idx="386">
                  <c:v>18.I.22</c:v>
                </c:pt>
                <c:pt idx="387">
                  <c:v>19.I.22</c:v>
                </c:pt>
                <c:pt idx="388">
                  <c:v>20.I.22</c:v>
                </c:pt>
                <c:pt idx="389">
                  <c:v>21.I.22</c:v>
                </c:pt>
                <c:pt idx="390">
                  <c:v>22.I.22</c:v>
                </c:pt>
                <c:pt idx="391">
                  <c:v>23.I.22</c:v>
                </c:pt>
                <c:pt idx="392">
                  <c:v>24.I.22</c:v>
                </c:pt>
                <c:pt idx="393">
                  <c:v>25.I.22</c:v>
                </c:pt>
                <c:pt idx="394">
                  <c:v>26.I.22</c:v>
                </c:pt>
                <c:pt idx="395">
                  <c:v>27.I.22</c:v>
                </c:pt>
                <c:pt idx="396">
                  <c:v>28.I.22</c:v>
                </c:pt>
                <c:pt idx="397">
                  <c:v>29.I.22</c:v>
                </c:pt>
                <c:pt idx="398">
                  <c:v>30.I.22</c:v>
                </c:pt>
                <c:pt idx="399">
                  <c:v>31.I.22</c:v>
                </c:pt>
                <c:pt idx="400">
                  <c:v>1.II.22</c:v>
                </c:pt>
                <c:pt idx="401">
                  <c:v>2.II.22</c:v>
                </c:pt>
                <c:pt idx="402">
                  <c:v>3.II.22</c:v>
                </c:pt>
                <c:pt idx="403">
                  <c:v>4.II.22</c:v>
                </c:pt>
                <c:pt idx="404">
                  <c:v>5.II.22</c:v>
                </c:pt>
                <c:pt idx="405">
                  <c:v>6.II.22</c:v>
                </c:pt>
                <c:pt idx="406">
                  <c:v>7.II.22</c:v>
                </c:pt>
                <c:pt idx="407">
                  <c:v>8.II.22</c:v>
                </c:pt>
                <c:pt idx="408">
                  <c:v>9.II.22</c:v>
                </c:pt>
                <c:pt idx="409">
                  <c:v>10.II.22</c:v>
                </c:pt>
                <c:pt idx="410">
                  <c:v>11.II.22</c:v>
                </c:pt>
                <c:pt idx="411">
                  <c:v>12.II.22</c:v>
                </c:pt>
                <c:pt idx="412">
                  <c:v>14.II.22</c:v>
                </c:pt>
                <c:pt idx="413">
                  <c:v>15.II.22</c:v>
                </c:pt>
                <c:pt idx="414">
                  <c:v>16.II.22</c:v>
                </c:pt>
                <c:pt idx="415">
                  <c:v>17.II.22</c:v>
                </c:pt>
                <c:pt idx="416">
                  <c:v>18.II.22</c:v>
                </c:pt>
                <c:pt idx="417">
                  <c:v>19.II.22</c:v>
                </c:pt>
                <c:pt idx="418">
                  <c:v>21.II.22</c:v>
                </c:pt>
                <c:pt idx="419">
                  <c:v>22.II.22</c:v>
                </c:pt>
                <c:pt idx="420">
                  <c:v>23.II.22</c:v>
                </c:pt>
                <c:pt idx="421">
                  <c:v>24.II.22</c:v>
                </c:pt>
                <c:pt idx="422">
                  <c:v>25.II.22</c:v>
                </c:pt>
                <c:pt idx="423">
                  <c:v>28.II.22</c:v>
                </c:pt>
                <c:pt idx="424">
                  <c:v>1.III.22</c:v>
                </c:pt>
                <c:pt idx="425">
                  <c:v>2.III.22</c:v>
                </c:pt>
                <c:pt idx="426">
                  <c:v>3.III.22</c:v>
                </c:pt>
                <c:pt idx="427">
                  <c:v>4.III.22</c:v>
                </c:pt>
              </c:strCache>
            </c:strRef>
          </c:cat>
          <c:val>
            <c:numRef>
              <c:f>List1!$G$3:$PR$3</c:f>
              <c:numCache>
                <c:formatCode>General</c:formatCode>
                <c:ptCount val="428"/>
                <c:pt idx="2">
                  <c:v>409</c:v>
                </c:pt>
                <c:pt idx="3">
                  <c:v>1122</c:v>
                </c:pt>
                <c:pt idx="4">
                  <c:v>2231</c:v>
                </c:pt>
                <c:pt idx="5">
                  <c:v>3367</c:v>
                </c:pt>
                <c:pt idx="6">
                  <c:v>3747</c:v>
                </c:pt>
                <c:pt idx="7">
                  <c:v>3866</c:v>
                </c:pt>
                <c:pt idx="8">
                  <c:v>4347</c:v>
                </c:pt>
                <c:pt idx="9">
                  <c:v>4665</c:v>
                </c:pt>
                <c:pt idx="10">
                  <c:v>6010</c:v>
                </c:pt>
                <c:pt idx="11">
                  <c:v>7653</c:v>
                </c:pt>
                <c:pt idx="12">
                  <c:v>9665</c:v>
                </c:pt>
                <c:pt idx="13">
                  <c:v>12221</c:v>
                </c:pt>
                <c:pt idx="14">
                  <c:v>15352</c:v>
                </c:pt>
                <c:pt idx="15">
                  <c:v>15798</c:v>
                </c:pt>
                <c:pt idx="16">
                  <c:v>16154</c:v>
                </c:pt>
                <c:pt idx="17">
                  <c:v>18953</c:v>
                </c:pt>
                <c:pt idx="18">
                  <c:v>22143</c:v>
                </c:pt>
                <c:pt idx="19">
                  <c:v>25012</c:v>
                </c:pt>
                <c:pt idx="20">
                  <c:v>28204</c:v>
                </c:pt>
                <c:pt idx="21">
                  <c:v>30986</c:v>
                </c:pt>
                <c:pt idx="22">
                  <c:v>31367</c:v>
                </c:pt>
                <c:pt idx="23">
                  <c:v>31594</c:v>
                </c:pt>
                <c:pt idx="24">
                  <c:v>33548</c:v>
                </c:pt>
                <c:pt idx="25">
                  <c:v>35236</c:v>
                </c:pt>
                <c:pt idx="26">
                  <c:v>36886</c:v>
                </c:pt>
                <c:pt idx="27">
                  <c:v>38421</c:v>
                </c:pt>
                <c:pt idx="28">
                  <c:v>39731</c:v>
                </c:pt>
                <c:pt idx="29">
                  <c:v>39887</c:v>
                </c:pt>
                <c:pt idx="30">
                  <c:v>39996</c:v>
                </c:pt>
                <c:pt idx="31">
                  <c:v>40641</c:v>
                </c:pt>
                <c:pt idx="32">
                  <c:v>41415</c:v>
                </c:pt>
                <c:pt idx="33">
                  <c:v>42068</c:v>
                </c:pt>
                <c:pt idx="34">
                  <c:v>42676</c:v>
                </c:pt>
                <c:pt idx="35">
                  <c:v>43240</c:v>
                </c:pt>
                <c:pt idx="36">
                  <c:v>43262</c:v>
                </c:pt>
                <c:pt idx="37">
                  <c:v>43280</c:v>
                </c:pt>
                <c:pt idx="38">
                  <c:v>43638</c:v>
                </c:pt>
                <c:pt idx="39">
                  <c:v>43980</c:v>
                </c:pt>
                <c:pt idx="40">
                  <c:v>44341</c:v>
                </c:pt>
                <c:pt idx="41">
                  <c:v>44671</c:v>
                </c:pt>
                <c:pt idx="42">
                  <c:v>45089</c:v>
                </c:pt>
                <c:pt idx="43">
                  <c:v>45111</c:v>
                </c:pt>
                <c:pt idx="44">
                  <c:v>45132</c:v>
                </c:pt>
                <c:pt idx="45">
                  <c:v>45401</c:v>
                </c:pt>
                <c:pt idx="46">
                  <c:v>45723</c:v>
                </c:pt>
                <c:pt idx="47">
                  <c:v>46125</c:v>
                </c:pt>
                <c:pt idx="48">
                  <c:v>46597</c:v>
                </c:pt>
                <c:pt idx="49">
                  <c:v>47129</c:v>
                </c:pt>
                <c:pt idx="50">
                  <c:v>47303</c:v>
                </c:pt>
                <c:pt idx="51">
                  <c:v>47357</c:v>
                </c:pt>
                <c:pt idx="52">
                  <c:v>47908</c:v>
                </c:pt>
                <c:pt idx="53">
                  <c:v>48396</c:v>
                </c:pt>
                <c:pt idx="54">
                  <c:v>48966</c:v>
                </c:pt>
                <c:pt idx="55">
                  <c:v>49635</c:v>
                </c:pt>
                <c:pt idx="56">
                  <c:v>50392</c:v>
                </c:pt>
                <c:pt idx="57">
                  <c:v>50522</c:v>
                </c:pt>
                <c:pt idx="58">
                  <c:v>50581</c:v>
                </c:pt>
                <c:pt idx="59">
                  <c:v>51178</c:v>
                </c:pt>
                <c:pt idx="60">
                  <c:v>51993</c:v>
                </c:pt>
                <c:pt idx="61">
                  <c:v>52817</c:v>
                </c:pt>
                <c:pt idx="62">
                  <c:v>54043</c:v>
                </c:pt>
                <c:pt idx="63">
                  <c:v>55033</c:v>
                </c:pt>
                <c:pt idx="64">
                  <c:v>55108</c:v>
                </c:pt>
                <c:pt idx="65">
                  <c:v>55156</c:v>
                </c:pt>
                <c:pt idx="66">
                  <c:v>56044</c:v>
                </c:pt>
                <c:pt idx="67">
                  <c:v>56996</c:v>
                </c:pt>
                <c:pt idx="68">
                  <c:v>57992</c:v>
                </c:pt>
                <c:pt idx="69">
                  <c:v>58902</c:v>
                </c:pt>
                <c:pt idx="70">
                  <c:v>60090</c:v>
                </c:pt>
                <c:pt idx="71">
                  <c:v>60340</c:v>
                </c:pt>
                <c:pt idx="72">
                  <c:v>60531</c:v>
                </c:pt>
                <c:pt idx="73">
                  <c:v>61309</c:v>
                </c:pt>
                <c:pt idx="74">
                  <c:v>62236</c:v>
                </c:pt>
                <c:pt idx="75">
                  <c:v>63184</c:v>
                </c:pt>
                <c:pt idx="76">
                  <c:v>64511</c:v>
                </c:pt>
                <c:pt idx="77">
                  <c:v>65616</c:v>
                </c:pt>
                <c:pt idx="78">
                  <c:v>65852</c:v>
                </c:pt>
                <c:pt idx="79">
                  <c:v>66095</c:v>
                </c:pt>
                <c:pt idx="80">
                  <c:v>66799</c:v>
                </c:pt>
                <c:pt idx="81">
                  <c:v>67840</c:v>
                </c:pt>
                <c:pt idx="82">
                  <c:v>68861</c:v>
                </c:pt>
                <c:pt idx="83">
                  <c:v>69756</c:v>
                </c:pt>
                <c:pt idx="84">
                  <c:v>70731</c:v>
                </c:pt>
                <c:pt idx="85">
                  <c:v>71091</c:v>
                </c:pt>
                <c:pt idx="86">
                  <c:v>71263</c:v>
                </c:pt>
                <c:pt idx="87">
                  <c:v>71795</c:v>
                </c:pt>
                <c:pt idx="88">
                  <c:v>72346</c:v>
                </c:pt>
                <c:pt idx="89">
                  <c:v>72852</c:v>
                </c:pt>
                <c:pt idx="90">
                  <c:v>73410</c:v>
                </c:pt>
                <c:pt idx="91">
                  <c:v>73991</c:v>
                </c:pt>
                <c:pt idx="92">
                  <c:v>74142</c:v>
                </c:pt>
                <c:pt idx="93">
                  <c:v>74309</c:v>
                </c:pt>
                <c:pt idx="94">
                  <c:v>74657</c:v>
                </c:pt>
                <c:pt idx="95">
                  <c:v>75104</c:v>
                </c:pt>
                <c:pt idx="96">
                  <c:v>75572</c:v>
                </c:pt>
                <c:pt idx="97">
                  <c:v>76026</c:v>
                </c:pt>
                <c:pt idx="98">
                  <c:v>76130</c:v>
                </c:pt>
                <c:pt idx="99">
                  <c:v>76172</c:v>
                </c:pt>
                <c:pt idx="100">
                  <c:v>76221</c:v>
                </c:pt>
                <c:pt idx="101">
                  <c:v>76257</c:v>
                </c:pt>
                <c:pt idx="102">
                  <c:v>76502</c:v>
                </c:pt>
                <c:pt idx="103">
                  <c:v>76819</c:v>
                </c:pt>
                <c:pt idx="104">
                  <c:v>77355</c:v>
                </c:pt>
                <c:pt idx="105">
                  <c:v>77929</c:v>
                </c:pt>
                <c:pt idx="106">
                  <c:v>78088</c:v>
                </c:pt>
                <c:pt idx="107">
                  <c:v>78189</c:v>
                </c:pt>
                <c:pt idx="108">
                  <c:v>78616</c:v>
                </c:pt>
                <c:pt idx="109">
                  <c:v>78996</c:v>
                </c:pt>
                <c:pt idx="110">
                  <c:v>79450</c:v>
                </c:pt>
                <c:pt idx="111">
                  <c:v>80110</c:v>
                </c:pt>
                <c:pt idx="112">
                  <c:v>80836</c:v>
                </c:pt>
                <c:pt idx="113">
                  <c:v>81040</c:v>
                </c:pt>
                <c:pt idx="114">
                  <c:v>81232</c:v>
                </c:pt>
                <c:pt idx="115">
                  <c:v>81754</c:v>
                </c:pt>
                <c:pt idx="116">
                  <c:v>82257</c:v>
                </c:pt>
                <c:pt idx="117">
                  <c:v>82915</c:v>
                </c:pt>
                <c:pt idx="118">
                  <c:v>83640</c:v>
                </c:pt>
                <c:pt idx="119">
                  <c:v>84351</c:v>
                </c:pt>
                <c:pt idx="120">
                  <c:v>84551</c:v>
                </c:pt>
                <c:pt idx="121">
                  <c:v>84739</c:v>
                </c:pt>
                <c:pt idx="122">
                  <c:v>85343</c:v>
                </c:pt>
                <c:pt idx="123">
                  <c:v>85890</c:v>
                </c:pt>
                <c:pt idx="124">
                  <c:v>86592</c:v>
                </c:pt>
                <c:pt idx="125">
                  <c:v>87348</c:v>
                </c:pt>
                <c:pt idx="126">
                  <c:v>87995</c:v>
                </c:pt>
                <c:pt idx="127">
                  <c:v>88149</c:v>
                </c:pt>
                <c:pt idx="128">
                  <c:v>88302</c:v>
                </c:pt>
                <c:pt idx="129">
                  <c:v>88809</c:v>
                </c:pt>
                <c:pt idx="130">
                  <c:v>89331</c:v>
                </c:pt>
                <c:pt idx="131">
                  <c:v>89855</c:v>
                </c:pt>
                <c:pt idx="132">
                  <c:v>90403</c:v>
                </c:pt>
                <c:pt idx="133">
                  <c:v>90974</c:v>
                </c:pt>
                <c:pt idx="134">
                  <c:v>91192</c:v>
                </c:pt>
                <c:pt idx="135">
                  <c:v>91299</c:v>
                </c:pt>
                <c:pt idx="136">
                  <c:v>91696</c:v>
                </c:pt>
                <c:pt idx="137">
                  <c:v>92175</c:v>
                </c:pt>
                <c:pt idx="138">
                  <c:v>92608</c:v>
                </c:pt>
                <c:pt idx="139">
                  <c:v>93043</c:v>
                </c:pt>
                <c:pt idx="140">
                  <c:v>93410</c:v>
                </c:pt>
                <c:pt idx="141">
                  <c:v>93572</c:v>
                </c:pt>
                <c:pt idx="142">
                  <c:v>93676</c:v>
                </c:pt>
                <c:pt idx="143">
                  <c:v>93992</c:v>
                </c:pt>
                <c:pt idx="144">
                  <c:v>94365</c:v>
                </c:pt>
                <c:pt idx="145">
                  <c:v>94726</c:v>
                </c:pt>
                <c:pt idx="146">
                  <c:v>95118</c:v>
                </c:pt>
                <c:pt idx="147">
                  <c:v>95483</c:v>
                </c:pt>
                <c:pt idx="148">
                  <c:v>95628</c:v>
                </c:pt>
                <c:pt idx="149">
                  <c:v>95726</c:v>
                </c:pt>
                <c:pt idx="150">
                  <c:v>95941</c:v>
                </c:pt>
                <c:pt idx="151">
                  <c:v>96180</c:v>
                </c:pt>
                <c:pt idx="152">
                  <c:v>96530</c:v>
                </c:pt>
                <c:pt idx="153">
                  <c:v>96857</c:v>
                </c:pt>
                <c:pt idx="154">
                  <c:v>97142</c:v>
                </c:pt>
                <c:pt idx="155">
                  <c:v>97285</c:v>
                </c:pt>
                <c:pt idx="156">
                  <c:v>97374</c:v>
                </c:pt>
                <c:pt idx="157">
                  <c:v>97652</c:v>
                </c:pt>
                <c:pt idx="158">
                  <c:v>97922</c:v>
                </c:pt>
                <c:pt idx="159">
                  <c:v>98266</c:v>
                </c:pt>
                <c:pt idx="160">
                  <c:v>98619</c:v>
                </c:pt>
                <c:pt idx="161">
                  <c:v>98945</c:v>
                </c:pt>
                <c:pt idx="162">
                  <c:v>99081</c:v>
                </c:pt>
                <c:pt idx="163">
                  <c:v>99210</c:v>
                </c:pt>
                <c:pt idx="164">
                  <c:v>99548</c:v>
                </c:pt>
                <c:pt idx="165">
                  <c:v>99888</c:v>
                </c:pt>
                <c:pt idx="166">
                  <c:v>100238</c:v>
                </c:pt>
                <c:pt idx="167">
                  <c:v>100600</c:v>
                </c:pt>
                <c:pt idx="168">
                  <c:v>100900</c:v>
                </c:pt>
                <c:pt idx="169">
                  <c:v>101108</c:v>
                </c:pt>
                <c:pt idx="170">
                  <c:v>101225</c:v>
                </c:pt>
                <c:pt idx="171">
                  <c:v>101469</c:v>
                </c:pt>
                <c:pt idx="172">
                  <c:v>101743</c:v>
                </c:pt>
                <c:pt idx="173">
                  <c:v>101983</c:v>
                </c:pt>
                <c:pt idx="174">
                  <c:v>102253</c:v>
                </c:pt>
                <c:pt idx="175">
                  <c:v>102470</c:v>
                </c:pt>
                <c:pt idx="176">
                  <c:v>102588</c:v>
                </c:pt>
                <c:pt idx="177">
                  <c:v>102682</c:v>
                </c:pt>
                <c:pt idx="178">
                  <c:v>102859</c:v>
                </c:pt>
                <c:pt idx="179">
                  <c:v>103080</c:v>
                </c:pt>
                <c:pt idx="180">
                  <c:v>103267</c:v>
                </c:pt>
                <c:pt idx="181">
                  <c:v>103428</c:v>
                </c:pt>
                <c:pt idx="182">
                  <c:v>103614</c:v>
                </c:pt>
                <c:pt idx="183">
                  <c:v>103705</c:v>
                </c:pt>
                <c:pt idx="184">
                  <c:v>103773</c:v>
                </c:pt>
                <c:pt idx="185">
                  <c:v>103954</c:v>
                </c:pt>
                <c:pt idx="186">
                  <c:v>104122</c:v>
                </c:pt>
                <c:pt idx="187">
                  <c:v>104303</c:v>
                </c:pt>
                <c:pt idx="188">
                  <c:v>104444</c:v>
                </c:pt>
                <c:pt idx="189">
                  <c:v>104636</c:v>
                </c:pt>
                <c:pt idx="190">
                  <c:v>104671</c:v>
                </c:pt>
                <c:pt idx="191">
                  <c:v>104716</c:v>
                </c:pt>
                <c:pt idx="192">
                  <c:v>104765</c:v>
                </c:pt>
                <c:pt idx="193">
                  <c:v>104797</c:v>
                </c:pt>
                <c:pt idx="194">
                  <c:v>104962</c:v>
                </c:pt>
                <c:pt idx="195">
                  <c:v>105140</c:v>
                </c:pt>
                <c:pt idx="196">
                  <c:v>105313</c:v>
                </c:pt>
                <c:pt idx="197">
                  <c:v>105373</c:v>
                </c:pt>
                <c:pt idx="198">
                  <c:v>105422</c:v>
                </c:pt>
                <c:pt idx="199">
                  <c:v>105584</c:v>
                </c:pt>
                <c:pt idx="200">
                  <c:v>105769</c:v>
                </c:pt>
                <c:pt idx="201">
                  <c:v>105972</c:v>
                </c:pt>
                <c:pt idx="202">
                  <c:v>106163</c:v>
                </c:pt>
                <c:pt idx="203">
                  <c:v>106346</c:v>
                </c:pt>
                <c:pt idx="204">
                  <c:v>106396</c:v>
                </c:pt>
                <c:pt idx="205">
                  <c:v>106454</c:v>
                </c:pt>
                <c:pt idx="206">
                  <c:v>106624</c:v>
                </c:pt>
                <c:pt idx="207">
                  <c:v>106773</c:v>
                </c:pt>
                <c:pt idx="208">
                  <c:v>106953</c:v>
                </c:pt>
                <c:pt idx="209">
                  <c:v>107131</c:v>
                </c:pt>
                <c:pt idx="210">
                  <c:v>107279</c:v>
                </c:pt>
                <c:pt idx="211">
                  <c:v>107322</c:v>
                </c:pt>
                <c:pt idx="212">
                  <c:v>107348</c:v>
                </c:pt>
                <c:pt idx="213">
                  <c:v>107516</c:v>
                </c:pt>
                <c:pt idx="214">
                  <c:v>107686</c:v>
                </c:pt>
                <c:pt idx="215">
                  <c:v>107838</c:v>
                </c:pt>
                <c:pt idx="216">
                  <c:v>107987</c:v>
                </c:pt>
                <c:pt idx="217">
                  <c:v>108151</c:v>
                </c:pt>
                <c:pt idx="218">
                  <c:v>108190</c:v>
                </c:pt>
                <c:pt idx="219">
                  <c:v>108230</c:v>
                </c:pt>
                <c:pt idx="220">
                  <c:v>108329</c:v>
                </c:pt>
                <c:pt idx="221">
                  <c:v>108441</c:v>
                </c:pt>
                <c:pt idx="222">
                  <c:v>108570</c:v>
                </c:pt>
                <c:pt idx="223">
                  <c:v>108679</c:v>
                </c:pt>
                <c:pt idx="224">
                  <c:v>108798</c:v>
                </c:pt>
                <c:pt idx="225">
                  <c:v>108820</c:v>
                </c:pt>
                <c:pt idx="226">
                  <c:v>108845</c:v>
                </c:pt>
                <c:pt idx="227">
                  <c:v>108930</c:v>
                </c:pt>
                <c:pt idx="228">
                  <c:v>109009</c:v>
                </c:pt>
                <c:pt idx="229">
                  <c:v>109079</c:v>
                </c:pt>
                <c:pt idx="230">
                  <c:v>109185</c:v>
                </c:pt>
                <c:pt idx="231">
                  <c:v>109248</c:v>
                </c:pt>
                <c:pt idx="232">
                  <c:v>109269</c:v>
                </c:pt>
                <c:pt idx="233">
                  <c:v>109291</c:v>
                </c:pt>
                <c:pt idx="234">
                  <c:v>109374</c:v>
                </c:pt>
                <c:pt idx="235">
                  <c:v>109453</c:v>
                </c:pt>
                <c:pt idx="236">
                  <c:v>109515</c:v>
                </c:pt>
                <c:pt idx="237">
                  <c:v>109585</c:v>
                </c:pt>
                <c:pt idx="238">
                  <c:v>109700</c:v>
                </c:pt>
                <c:pt idx="239">
                  <c:v>109714</c:v>
                </c:pt>
                <c:pt idx="240">
                  <c:v>109725</c:v>
                </c:pt>
                <c:pt idx="241">
                  <c:v>109821</c:v>
                </c:pt>
                <c:pt idx="242">
                  <c:v>109909</c:v>
                </c:pt>
                <c:pt idx="243">
                  <c:v>109975</c:v>
                </c:pt>
                <c:pt idx="244">
                  <c:v>110047</c:v>
                </c:pt>
                <c:pt idx="245">
                  <c:v>110135</c:v>
                </c:pt>
                <c:pt idx="246">
                  <c:v>110151</c:v>
                </c:pt>
                <c:pt idx="247">
                  <c:v>110167</c:v>
                </c:pt>
                <c:pt idx="248">
                  <c:v>110239</c:v>
                </c:pt>
                <c:pt idx="249">
                  <c:v>110300</c:v>
                </c:pt>
                <c:pt idx="250">
                  <c:v>110357</c:v>
                </c:pt>
                <c:pt idx="251">
                  <c:v>110431</c:v>
                </c:pt>
                <c:pt idx="252">
                  <c:v>110507</c:v>
                </c:pt>
                <c:pt idx="253">
                  <c:v>110519</c:v>
                </c:pt>
                <c:pt idx="254">
                  <c:v>110529</c:v>
                </c:pt>
                <c:pt idx="255">
                  <c:v>110588</c:v>
                </c:pt>
                <c:pt idx="256">
                  <c:v>110630</c:v>
                </c:pt>
                <c:pt idx="257">
                  <c:v>110680</c:v>
                </c:pt>
                <c:pt idx="258">
                  <c:v>110736</c:v>
                </c:pt>
                <c:pt idx="259">
                  <c:v>110787</c:v>
                </c:pt>
                <c:pt idx="260">
                  <c:v>110804</c:v>
                </c:pt>
                <c:pt idx="261">
                  <c:v>110811</c:v>
                </c:pt>
                <c:pt idx="262">
                  <c:v>110855</c:v>
                </c:pt>
                <c:pt idx="263">
                  <c:v>110918</c:v>
                </c:pt>
                <c:pt idx="264">
                  <c:v>110967</c:v>
                </c:pt>
                <c:pt idx="265">
                  <c:v>111024</c:v>
                </c:pt>
                <c:pt idx="266">
                  <c:v>111091</c:v>
                </c:pt>
                <c:pt idx="267">
                  <c:v>111108</c:v>
                </c:pt>
                <c:pt idx="268">
                  <c:v>111115</c:v>
                </c:pt>
                <c:pt idx="269">
                  <c:v>111153</c:v>
                </c:pt>
                <c:pt idx="270">
                  <c:v>111202</c:v>
                </c:pt>
                <c:pt idx="271">
                  <c:v>111245</c:v>
                </c:pt>
                <c:pt idx="272">
                  <c:v>111298</c:v>
                </c:pt>
                <c:pt idx="273">
                  <c:v>111370</c:v>
                </c:pt>
                <c:pt idx="274">
                  <c:v>111380</c:v>
                </c:pt>
                <c:pt idx="275">
                  <c:v>111384</c:v>
                </c:pt>
                <c:pt idx="276">
                  <c:v>111427</c:v>
                </c:pt>
                <c:pt idx="277">
                  <c:v>111429</c:v>
                </c:pt>
                <c:pt idx="278">
                  <c:v>111470</c:v>
                </c:pt>
                <c:pt idx="279">
                  <c:v>111509</c:v>
                </c:pt>
                <c:pt idx="280">
                  <c:v>111543</c:v>
                </c:pt>
                <c:pt idx="281">
                  <c:v>111550</c:v>
                </c:pt>
                <c:pt idx="282">
                  <c:v>111557</c:v>
                </c:pt>
                <c:pt idx="283">
                  <c:v>111585</c:v>
                </c:pt>
                <c:pt idx="284">
                  <c:v>111632</c:v>
                </c:pt>
                <c:pt idx="285">
                  <c:v>111681</c:v>
                </c:pt>
                <c:pt idx="286">
                  <c:v>111709</c:v>
                </c:pt>
                <c:pt idx="287">
                  <c:v>111759</c:v>
                </c:pt>
                <c:pt idx="288">
                  <c:v>111769</c:v>
                </c:pt>
                <c:pt idx="289">
                  <c:v>111774</c:v>
                </c:pt>
                <c:pt idx="290">
                  <c:v>111803</c:v>
                </c:pt>
                <c:pt idx="291">
                  <c:v>111824</c:v>
                </c:pt>
                <c:pt idx="292">
                  <c:v>111861</c:v>
                </c:pt>
                <c:pt idx="293">
                  <c:v>111892</c:v>
                </c:pt>
                <c:pt idx="294">
                  <c:v>111938</c:v>
                </c:pt>
                <c:pt idx="295">
                  <c:v>111950</c:v>
                </c:pt>
                <c:pt idx="296">
                  <c:v>111967</c:v>
                </c:pt>
                <c:pt idx="297">
                  <c:v>112019</c:v>
                </c:pt>
                <c:pt idx="298">
                  <c:v>112075</c:v>
                </c:pt>
                <c:pt idx="299">
                  <c:v>112133</c:v>
                </c:pt>
                <c:pt idx="300">
                  <c:v>112247</c:v>
                </c:pt>
                <c:pt idx="301">
                  <c:v>112371</c:v>
                </c:pt>
                <c:pt idx="302">
                  <c:v>112397</c:v>
                </c:pt>
                <c:pt idx="303">
                  <c:v>112421</c:v>
                </c:pt>
                <c:pt idx="304">
                  <c:v>112545</c:v>
                </c:pt>
                <c:pt idx="305">
                  <c:v>112713</c:v>
                </c:pt>
                <c:pt idx="306">
                  <c:v>112915</c:v>
                </c:pt>
                <c:pt idx="307">
                  <c:v>112952</c:v>
                </c:pt>
                <c:pt idx="308">
                  <c:v>113116</c:v>
                </c:pt>
                <c:pt idx="309">
                  <c:v>113162</c:v>
                </c:pt>
                <c:pt idx="310">
                  <c:v>113194</c:v>
                </c:pt>
                <c:pt idx="311">
                  <c:v>113362</c:v>
                </c:pt>
                <c:pt idx="312">
                  <c:v>113563</c:v>
                </c:pt>
                <c:pt idx="313">
                  <c:v>113754</c:v>
                </c:pt>
                <c:pt idx="314">
                  <c:v>113987</c:v>
                </c:pt>
                <c:pt idx="315">
                  <c:v>114236</c:v>
                </c:pt>
                <c:pt idx="316">
                  <c:v>114294</c:v>
                </c:pt>
                <c:pt idx="317">
                  <c:v>114332</c:v>
                </c:pt>
                <c:pt idx="318">
                  <c:v>114517</c:v>
                </c:pt>
                <c:pt idx="319">
                  <c:v>114672</c:v>
                </c:pt>
                <c:pt idx="320">
                  <c:v>114860</c:v>
                </c:pt>
                <c:pt idx="321">
                  <c:v>115037</c:v>
                </c:pt>
                <c:pt idx="322">
                  <c:v>115242</c:v>
                </c:pt>
                <c:pt idx="323">
                  <c:v>115301</c:v>
                </c:pt>
                <c:pt idx="324">
                  <c:v>115340</c:v>
                </c:pt>
                <c:pt idx="325">
                  <c:v>115530</c:v>
                </c:pt>
                <c:pt idx="326">
                  <c:v>115733</c:v>
                </c:pt>
                <c:pt idx="327">
                  <c:v>115783</c:v>
                </c:pt>
                <c:pt idx="328">
                  <c:v>116007</c:v>
                </c:pt>
                <c:pt idx="329">
                  <c:v>116284</c:v>
                </c:pt>
                <c:pt idx="330">
                  <c:v>116375</c:v>
                </c:pt>
                <c:pt idx="331">
                  <c:v>116442</c:v>
                </c:pt>
                <c:pt idx="332">
                  <c:v>116628</c:v>
                </c:pt>
                <c:pt idx="333">
                  <c:v>116807</c:v>
                </c:pt>
                <c:pt idx="334">
                  <c:v>117032</c:v>
                </c:pt>
                <c:pt idx="335">
                  <c:v>117247</c:v>
                </c:pt>
                <c:pt idx="336">
                  <c:v>117483</c:v>
                </c:pt>
                <c:pt idx="337">
                  <c:v>117545</c:v>
                </c:pt>
                <c:pt idx="338">
                  <c:v>117568</c:v>
                </c:pt>
                <c:pt idx="339">
                  <c:v>117718</c:v>
                </c:pt>
                <c:pt idx="340">
                  <c:v>117877</c:v>
                </c:pt>
                <c:pt idx="341">
                  <c:v>118032</c:v>
                </c:pt>
                <c:pt idx="342">
                  <c:v>118148</c:v>
                </c:pt>
                <c:pt idx="343">
                  <c:v>118262</c:v>
                </c:pt>
                <c:pt idx="344">
                  <c:v>118289</c:v>
                </c:pt>
                <c:pt idx="345">
                  <c:v>118300</c:v>
                </c:pt>
                <c:pt idx="346">
                  <c:v>118400</c:v>
                </c:pt>
                <c:pt idx="347">
                  <c:v>118485</c:v>
                </c:pt>
                <c:pt idx="348">
                  <c:v>118582</c:v>
                </c:pt>
                <c:pt idx="349">
                  <c:v>118657</c:v>
                </c:pt>
                <c:pt idx="350">
                  <c:v>118739</c:v>
                </c:pt>
                <c:pt idx="351">
                  <c:v>118753</c:v>
                </c:pt>
                <c:pt idx="352">
                  <c:v>118764</c:v>
                </c:pt>
                <c:pt idx="353">
                  <c:v>118850</c:v>
                </c:pt>
                <c:pt idx="354">
                  <c:v>118912</c:v>
                </c:pt>
                <c:pt idx="355">
                  <c:v>118992</c:v>
                </c:pt>
                <c:pt idx="356">
                  <c:v>119073</c:v>
                </c:pt>
                <c:pt idx="357">
                  <c:v>119157</c:v>
                </c:pt>
                <c:pt idx="358">
                  <c:v>119182</c:v>
                </c:pt>
                <c:pt idx="359">
                  <c:v>119186</c:v>
                </c:pt>
                <c:pt idx="360">
                  <c:v>119244</c:v>
                </c:pt>
                <c:pt idx="361">
                  <c:v>119284</c:v>
                </c:pt>
                <c:pt idx="362">
                  <c:v>119323</c:v>
                </c:pt>
                <c:pt idx="363">
                  <c:v>119343</c:v>
                </c:pt>
                <c:pt idx="364">
                  <c:v>119343</c:v>
                </c:pt>
                <c:pt idx="365">
                  <c:v>119370</c:v>
                </c:pt>
                <c:pt idx="366">
                  <c:v>119406</c:v>
                </c:pt>
                <c:pt idx="367">
                  <c:v>119445</c:v>
                </c:pt>
                <c:pt idx="368">
                  <c:v>119478</c:v>
                </c:pt>
                <c:pt idx="369">
                  <c:v>119481</c:v>
                </c:pt>
                <c:pt idx="370">
                  <c:v>119484</c:v>
                </c:pt>
                <c:pt idx="371">
                  <c:v>119530</c:v>
                </c:pt>
                <c:pt idx="372">
                  <c:v>119561</c:v>
                </c:pt>
                <c:pt idx="373">
                  <c:v>119620</c:v>
                </c:pt>
                <c:pt idx="374">
                  <c:v>119675</c:v>
                </c:pt>
                <c:pt idx="375">
                  <c:v>119761</c:v>
                </c:pt>
                <c:pt idx="376">
                  <c:v>119769</c:v>
                </c:pt>
                <c:pt idx="377">
                  <c:v>119774</c:v>
                </c:pt>
                <c:pt idx="378">
                  <c:v>119814</c:v>
                </c:pt>
                <c:pt idx="379">
                  <c:v>119864</c:v>
                </c:pt>
                <c:pt idx="380">
                  <c:v>119912</c:v>
                </c:pt>
                <c:pt idx="381">
                  <c:v>119971</c:v>
                </c:pt>
                <c:pt idx="382">
                  <c:v>120055</c:v>
                </c:pt>
                <c:pt idx="383">
                  <c:v>120069</c:v>
                </c:pt>
                <c:pt idx="384">
                  <c:v>120075</c:v>
                </c:pt>
                <c:pt idx="385">
                  <c:v>120120</c:v>
                </c:pt>
                <c:pt idx="386">
                  <c:v>120169</c:v>
                </c:pt>
                <c:pt idx="387">
                  <c:v>120208</c:v>
                </c:pt>
                <c:pt idx="388">
                  <c:v>120237</c:v>
                </c:pt>
                <c:pt idx="389">
                  <c:v>120274</c:v>
                </c:pt>
                <c:pt idx="390">
                  <c:v>120277</c:v>
                </c:pt>
                <c:pt idx="391">
                  <c:v>120280</c:v>
                </c:pt>
                <c:pt idx="392">
                  <c:v>120295</c:v>
                </c:pt>
                <c:pt idx="393">
                  <c:v>120312</c:v>
                </c:pt>
                <c:pt idx="394">
                  <c:v>120328</c:v>
                </c:pt>
                <c:pt idx="395">
                  <c:v>120346</c:v>
                </c:pt>
                <c:pt idx="396">
                  <c:v>120375</c:v>
                </c:pt>
                <c:pt idx="397">
                  <c:v>120382</c:v>
                </c:pt>
                <c:pt idx="398">
                  <c:v>120383</c:v>
                </c:pt>
                <c:pt idx="399">
                  <c:v>120395</c:v>
                </c:pt>
                <c:pt idx="400">
                  <c:v>120403</c:v>
                </c:pt>
                <c:pt idx="401">
                  <c:v>120413</c:v>
                </c:pt>
                <c:pt idx="402">
                  <c:v>120423</c:v>
                </c:pt>
                <c:pt idx="403">
                  <c:v>120439</c:v>
                </c:pt>
                <c:pt idx="404">
                  <c:v>120440</c:v>
                </c:pt>
                <c:pt idx="405">
                  <c:v>120440</c:v>
                </c:pt>
                <c:pt idx="406">
                  <c:v>120446</c:v>
                </c:pt>
                <c:pt idx="407">
                  <c:v>120449</c:v>
                </c:pt>
                <c:pt idx="408">
                  <c:v>120452</c:v>
                </c:pt>
                <c:pt idx="409">
                  <c:v>120459</c:v>
                </c:pt>
                <c:pt idx="410">
                  <c:v>120465</c:v>
                </c:pt>
                <c:pt idx="411">
                  <c:v>120465</c:v>
                </c:pt>
                <c:pt idx="412">
                  <c:v>120469</c:v>
                </c:pt>
                <c:pt idx="413">
                  <c:v>120473</c:v>
                </c:pt>
                <c:pt idx="414">
                  <c:v>120475</c:v>
                </c:pt>
                <c:pt idx="415">
                  <c:v>120478</c:v>
                </c:pt>
                <c:pt idx="416">
                  <c:v>120480</c:v>
                </c:pt>
                <c:pt idx="417">
                  <c:v>120480</c:v>
                </c:pt>
                <c:pt idx="418">
                  <c:v>120484</c:v>
                </c:pt>
                <c:pt idx="419">
                  <c:v>120484</c:v>
                </c:pt>
                <c:pt idx="420">
                  <c:v>120486</c:v>
                </c:pt>
                <c:pt idx="421">
                  <c:v>120490</c:v>
                </c:pt>
                <c:pt idx="422">
                  <c:v>120493</c:v>
                </c:pt>
                <c:pt idx="423">
                  <c:v>120493</c:v>
                </c:pt>
                <c:pt idx="424">
                  <c:v>120497</c:v>
                </c:pt>
                <c:pt idx="425">
                  <c:v>120499</c:v>
                </c:pt>
                <c:pt idx="426">
                  <c:v>120500</c:v>
                </c:pt>
                <c:pt idx="427">
                  <c:v>12051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39B2-46E3-85FE-A83BCF6CC085}"/>
            </c:ext>
          </c:extLst>
        </c:ser>
        <c:ser>
          <c:idx val="2"/>
          <c:order val="2"/>
          <c:tx>
            <c:strRef>
              <c:f>List1!$A$4</c:f>
              <c:strCache>
                <c:ptCount val="1"/>
                <c:pt idx="0">
                  <c:v>Ostatní ZP</c:v>
                </c:pt>
              </c:strCache>
            </c:strRef>
          </c:tx>
          <c:spPr>
            <a:ln w="28575" cap="rnd">
              <a:solidFill>
                <a:srgbClr val="A6A6A6"/>
              </a:solidFill>
              <a:round/>
            </a:ln>
            <a:effectLst/>
          </c:spPr>
          <c:marker>
            <c:symbol val="none"/>
          </c:marker>
          <c:cat>
            <c:strRef>
              <c:f>List1!$G$1:$PR$1</c:f>
              <c:strCache>
                <c:ptCount val="428"/>
                <c:pt idx="0">
                  <c:v>25-XII.20</c:v>
                </c:pt>
                <c:pt idx="1">
                  <c:v>26-XII.20</c:v>
                </c:pt>
                <c:pt idx="2">
                  <c:v>27.XII.20</c:v>
                </c:pt>
                <c:pt idx="3">
                  <c:v>28.XII.20</c:v>
                </c:pt>
                <c:pt idx="4">
                  <c:v>29.XII.20</c:v>
                </c:pt>
                <c:pt idx="5">
                  <c:v>30.XII.20</c:v>
                </c:pt>
                <c:pt idx="6">
                  <c:v>31.XII.20</c:v>
                </c:pt>
                <c:pt idx="7">
                  <c:v>1.I.21</c:v>
                </c:pt>
                <c:pt idx="8">
                  <c:v>2.I.21</c:v>
                </c:pt>
                <c:pt idx="9">
                  <c:v>3.I.21</c:v>
                </c:pt>
                <c:pt idx="10">
                  <c:v>4.I.21</c:v>
                </c:pt>
                <c:pt idx="11">
                  <c:v>5.I.21</c:v>
                </c:pt>
                <c:pt idx="12">
                  <c:v>6.I.21</c:v>
                </c:pt>
                <c:pt idx="13">
                  <c:v>7.I.21</c:v>
                </c:pt>
                <c:pt idx="14">
                  <c:v>8.I.21</c:v>
                </c:pt>
                <c:pt idx="15">
                  <c:v>9.I.21</c:v>
                </c:pt>
                <c:pt idx="16">
                  <c:v>10.I.21</c:v>
                </c:pt>
                <c:pt idx="17">
                  <c:v>11.I.21</c:v>
                </c:pt>
                <c:pt idx="18">
                  <c:v>12.I.21</c:v>
                </c:pt>
                <c:pt idx="19">
                  <c:v>13.I.21</c:v>
                </c:pt>
                <c:pt idx="20">
                  <c:v>14.I.21</c:v>
                </c:pt>
                <c:pt idx="21">
                  <c:v>15.I.21</c:v>
                </c:pt>
                <c:pt idx="22">
                  <c:v>16.I.21</c:v>
                </c:pt>
                <c:pt idx="23">
                  <c:v>17.I.21</c:v>
                </c:pt>
                <c:pt idx="24">
                  <c:v>18.I.21</c:v>
                </c:pt>
                <c:pt idx="25">
                  <c:v>19.I.21</c:v>
                </c:pt>
                <c:pt idx="26">
                  <c:v>20.I.21</c:v>
                </c:pt>
                <c:pt idx="27">
                  <c:v>21.I.21</c:v>
                </c:pt>
                <c:pt idx="28">
                  <c:v>22.I.21</c:v>
                </c:pt>
                <c:pt idx="29">
                  <c:v>23.I.21</c:v>
                </c:pt>
                <c:pt idx="30">
                  <c:v>24.I.21</c:v>
                </c:pt>
                <c:pt idx="31">
                  <c:v>25.I.21</c:v>
                </c:pt>
                <c:pt idx="32">
                  <c:v>26.I.21</c:v>
                </c:pt>
                <c:pt idx="33">
                  <c:v>27.I.21</c:v>
                </c:pt>
                <c:pt idx="34">
                  <c:v>28.I.21</c:v>
                </c:pt>
                <c:pt idx="35">
                  <c:v>29.I.21</c:v>
                </c:pt>
                <c:pt idx="36">
                  <c:v>30.I.21</c:v>
                </c:pt>
                <c:pt idx="37">
                  <c:v>31.I.21</c:v>
                </c:pt>
                <c:pt idx="38">
                  <c:v>1.II.21</c:v>
                </c:pt>
                <c:pt idx="39">
                  <c:v>2.II.21</c:v>
                </c:pt>
                <c:pt idx="40">
                  <c:v>3.II.21</c:v>
                </c:pt>
                <c:pt idx="41">
                  <c:v>4.II.21</c:v>
                </c:pt>
                <c:pt idx="42">
                  <c:v>5.II.21</c:v>
                </c:pt>
                <c:pt idx="43">
                  <c:v>6.II.21</c:v>
                </c:pt>
                <c:pt idx="44">
                  <c:v>7.II.21</c:v>
                </c:pt>
                <c:pt idx="45">
                  <c:v>8.II.21</c:v>
                </c:pt>
                <c:pt idx="46">
                  <c:v>9.II.21</c:v>
                </c:pt>
                <c:pt idx="47">
                  <c:v>10.II.21</c:v>
                </c:pt>
                <c:pt idx="48">
                  <c:v>11.II.21</c:v>
                </c:pt>
                <c:pt idx="49">
                  <c:v>12.II.21</c:v>
                </c:pt>
                <c:pt idx="50">
                  <c:v>13.II.21</c:v>
                </c:pt>
                <c:pt idx="51">
                  <c:v>14.II.21</c:v>
                </c:pt>
                <c:pt idx="52">
                  <c:v>15.II.21</c:v>
                </c:pt>
                <c:pt idx="53">
                  <c:v>16.II.21</c:v>
                </c:pt>
                <c:pt idx="54">
                  <c:v>17.II.21</c:v>
                </c:pt>
                <c:pt idx="55">
                  <c:v>18.II.21</c:v>
                </c:pt>
                <c:pt idx="56">
                  <c:v>19.II.21</c:v>
                </c:pt>
                <c:pt idx="57">
                  <c:v>20.II.21</c:v>
                </c:pt>
                <c:pt idx="58">
                  <c:v>21.II.21</c:v>
                </c:pt>
                <c:pt idx="59">
                  <c:v>22.II.21</c:v>
                </c:pt>
                <c:pt idx="60">
                  <c:v>23.II.21</c:v>
                </c:pt>
                <c:pt idx="61">
                  <c:v>24.II.21</c:v>
                </c:pt>
                <c:pt idx="62">
                  <c:v>25.II.21</c:v>
                </c:pt>
                <c:pt idx="63">
                  <c:v>26.II.21</c:v>
                </c:pt>
                <c:pt idx="64">
                  <c:v>27.II.21</c:v>
                </c:pt>
                <c:pt idx="65">
                  <c:v>28.II.21</c:v>
                </c:pt>
                <c:pt idx="66">
                  <c:v>1.III.21</c:v>
                </c:pt>
                <c:pt idx="67">
                  <c:v>2.III.21</c:v>
                </c:pt>
                <c:pt idx="68">
                  <c:v>3.III.21</c:v>
                </c:pt>
                <c:pt idx="69">
                  <c:v>4.III.21</c:v>
                </c:pt>
                <c:pt idx="70">
                  <c:v>5.III.21</c:v>
                </c:pt>
                <c:pt idx="71">
                  <c:v>6.III.21</c:v>
                </c:pt>
                <c:pt idx="72">
                  <c:v>7.III.21</c:v>
                </c:pt>
                <c:pt idx="73">
                  <c:v>8.III.21</c:v>
                </c:pt>
                <c:pt idx="74">
                  <c:v>9.III.21</c:v>
                </c:pt>
                <c:pt idx="75">
                  <c:v>10.III.21</c:v>
                </c:pt>
                <c:pt idx="76">
                  <c:v>11.III.21</c:v>
                </c:pt>
                <c:pt idx="77">
                  <c:v>12.III.21</c:v>
                </c:pt>
                <c:pt idx="78">
                  <c:v>13.III.21</c:v>
                </c:pt>
                <c:pt idx="79">
                  <c:v>14.III.21</c:v>
                </c:pt>
                <c:pt idx="80">
                  <c:v>15.III.21</c:v>
                </c:pt>
                <c:pt idx="81">
                  <c:v>16.III.21</c:v>
                </c:pt>
                <c:pt idx="82">
                  <c:v>17.III.21</c:v>
                </c:pt>
                <c:pt idx="83">
                  <c:v>18.III.21</c:v>
                </c:pt>
                <c:pt idx="84">
                  <c:v>19.III.21</c:v>
                </c:pt>
                <c:pt idx="85">
                  <c:v>20.III.21</c:v>
                </c:pt>
                <c:pt idx="86">
                  <c:v>21.III.21</c:v>
                </c:pt>
                <c:pt idx="87">
                  <c:v>22.III.21</c:v>
                </c:pt>
                <c:pt idx="88">
                  <c:v>23.III.21</c:v>
                </c:pt>
                <c:pt idx="89">
                  <c:v>24.III.21</c:v>
                </c:pt>
                <c:pt idx="90">
                  <c:v>25.III.21</c:v>
                </c:pt>
                <c:pt idx="91">
                  <c:v>26.III.21</c:v>
                </c:pt>
                <c:pt idx="92">
                  <c:v>27.III.21</c:v>
                </c:pt>
                <c:pt idx="93">
                  <c:v>28.III.21</c:v>
                </c:pt>
                <c:pt idx="94">
                  <c:v>29.III.21</c:v>
                </c:pt>
                <c:pt idx="95">
                  <c:v>30.III.21</c:v>
                </c:pt>
                <c:pt idx="96">
                  <c:v>31.III.21</c:v>
                </c:pt>
                <c:pt idx="97">
                  <c:v>1.IV.21</c:v>
                </c:pt>
                <c:pt idx="98">
                  <c:v>2.IV.21</c:v>
                </c:pt>
                <c:pt idx="99">
                  <c:v>3.IV.21</c:v>
                </c:pt>
                <c:pt idx="100">
                  <c:v>4.IV.21</c:v>
                </c:pt>
                <c:pt idx="101">
                  <c:v>5.IV.21</c:v>
                </c:pt>
                <c:pt idx="102">
                  <c:v>6.IV.21</c:v>
                </c:pt>
                <c:pt idx="103">
                  <c:v>7.IV.21</c:v>
                </c:pt>
                <c:pt idx="104">
                  <c:v>8.IV.21</c:v>
                </c:pt>
                <c:pt idx="105">
                  <c:v>9.IV.21</c:v>
                </c:pt>
                <c:pt idx="106">
                  <c:v>10.IV.21</c:v>
                </c:pt>
                <c:pt idx="107">
                  <c:v>11.IV.21</c:v>
                </c:pt>
                <c:pt idx="108">
                  <c:v>12.IV.21</c:v>
                </c:pt>
                <c:pt idx="109">
                  <c:v>13.IV.21</c:v>
                </c:pt>
                <c:pt idx="110">
                  <c:v>14.IV.21</c:v>
                </c:pt>
                <c:pt idx="111">
                  <c:v>15.IV.21</c:v>
                </c:pt>
                <c:pt idx="112">
                  <c:v>16.IV.21</c:v>
                </c:pt>
                <c:pt idx="113">
                  <c:v>17.IV.21</c:v>
                </c:pt>
                <c:pt idx="114">
                  <c:v>18.IV.21</c:v>
                </c:pt>
                <c:pt idx="115">
                  <c:v>19.IV.21</c:v>
                </c:pt>
                <c:pt idx="116">
                  <c:v>20.IV.21</c:v>
                </c:pt>
                <c:pt idx="117">
                  <c:v>21.IV.21</c:v>
                </c:pt>
                <c:pt idx="118">
                  <c:v>22.IV.21</c:v>
                </c:pt>
                <c:pt idx="119">
                  <c:v>23.IV.21</c:v>
                </c:pt>
                <c:pt idx="120">
                  <c:v>24.IV.21</c:v>
                </c:pt>
                <c:pt idx="121">
                  <c:v>25.IV.21</c:v>
                </c:pt>
                <c:pt idx="122">
                  <c:v>26.IV.21</c:v>
                </c:pt>
                <c:pt idx="123">
                  <c:v>27.IV.21</c:v>
                </c:pt>
                <c:pt idx="124">
                  <c:v>28.IV.21</c:v>
                </c:pt>
                <c:pt idx="125">
                  <c:v>29.IV.21</c:v>
                </c:pt>
                <c:pt idx="126">
                  <c:v>30.IV.21</c:v>
                </c:pt>
                <c:pt idx="127">
                  <c:v>1.V.21</c:v>
                </c:pt>
                <c:pt idx="128">
                  <c:v>2.V.21</c:v>
                </c:pt>
                <c:pt idx="129">
                  <c:v>3.V.21</c:v>
                </c:pt>
                <c:pt idx="130">
                  <c:v>4.V.21</c:v>
                </c:pt>
                <c:pt idx="131">
                  <c:v>5.V.21</c:v>
                </c:pt>
                <c:pt idx="132">
                  <c:v>6.V.21</c:v>
                </c:pt>
                <c:pt idx="133">
                  <c:v>7.V.21</c:v>
                </c:pt>
                <c:pt idx="134">
                  <c:v>8.V.21</c:v>
                </c:pt>
                <c:pt idx="135">
                  <c:v>9.V.21</c:v>
                </c:pt>
                <c:pt idx="136">
                  <c:v>10.V.21</c:v>
                </c:pt>
                <c:pt idx="137">
                  <c:v>11.V.21</c:v>
                </c:pt>
                <c:pt idx="138">
                  <c:v>12.V.21</c:v>
                </c:pt>
                <c:pt idx="139">
                  <c:v>13.V.21</c:v>
                </c:pt>
                <c:pt idx="140">
                  <c:v>14.V.21</c:v>
                </c:pt>
                <c:pt idx="141">
                  <c:v>15.V.21</c:v>
                </c:pt>
                <c:pt idx="142">
                  <c:v>16.V.21</c:v>
                </c:pt>
                <c:pt idx="143">
                  <c:v>17.V.21</c:v>
                </c:pt>
                <c:pt idx="144">
                  <c:v>18.V.21</c:v>
                </c:pt>
                <c:pt idx="145">
                  <c:v>19.V.21</c:v>
                </c:pt>
                <c:pt idx="146">
                  <c:v>20.V.21</c:v>
                </c:pt>
                <c:pt idx="147">
                  <c:v>21.V.21</c:v>
                </c:pt>
                <c:pt idx="148">
                  <c:v>22.V.21</c:v>
                </c:pt>
                <c:pt idx="149">
                  <c:v>23.V.21</c:v>
                </c:pt>
                <c:pt idx="150">
                  <c:v>24.V.21</c:v>
                </c:pt>
                <c:pt idx="151">
                  <c:v>25.V.21</c:v>
                </c:pt>
                <c:pt idx="152">
                  <c:v>26.V.21</c:v>
                </c:pt>
                <c:pt idx="153">
                  <c:v>27.V.21</c:v>
                </c:pt>
                <c:pt idx="154">
                  <c:v>28.V.21</c:v>
                </c:pt>
                <c:pt idx="155">
                  <c:v>29.V.21</c:v>
                </c:pt>
                <c:pt idx="156">
                  <c:v>30.V.21</c:v>
                </c:pt>
                <c:pt idx="157">
                  <c:v>31.V.21</c:v>
                </c:pt>
                <c:pt idx="158">
                  <c:v>1.VI.21</c:v>
                </c:pt>
                <c:pt idx="159">
                  <c:v>2.VI.21</c:v>
                </c:pt>
                <c:pt idx="160">
                  <c:v>3.VI.21</c:v>
                </c:pt>
                <c:pt idx="161">
                  <c:v>4.VI.21</c:v>
                </c:pt>
                <c:pt idx="162">
                  <c:v>5.VI.21</c:v>
                </c:pt>
                <c:pt idx="163">
                  <c:v>6.VI.21</c:v>
                </c:pt>
                <c:pt idx="164">
                  <c:v>7.VI.21</c:v>
                </c:pt>
                <c:pt idx="165">
                  <c:v>8.VI.21</c:v>
                </c:pt>
                <c:pt idx="166">
                  <c:v>9.VI.21</c:v>
                </c:pt>
                <c:pt idx="167">
                  <c:v>10.VI.21</c:v>
                </c:pt>
                <c:pt idx="168">
                  <c:v>11.VI.21</c:v>
                </c:pt>
                <c:pt idx="169">
                  <c:v>12.VI.21</c:v>
                </c:pt>
                <c:pt idx="170">
                  <c:v>13.VI.21</c:v>
                </c:pt>
                <c:pt idx="171">
                  <c:v>14.VI.21</c:v>
                </c:pt>
                <c:pt idx="172">
                  <c:v>15.VI.21</c:v>
                </c:pt>
                <c:pt idx="173">
                  <c:v>16.VI.21</c:v>
                </c:pt>
                <c:pt idx="174">
                  <c:v>17.VI.21</c:v>
                </c:pt>
                <c:pt idx="175">
                  <c:v>18.VI.21</c:v>
                </c:pt>
                <c:pt idx="176">
                  <c:v>19.VI.21</c:v>
                </c:pt>
                <c:pt idx="177">
                  <c:v>20.VI.21</c:v>
                </c:pt>
                <c:pt idx="178">
                  <c:v>21.VI.21</c:v>
                </c:pt>
                <c:pt idx="179">
                  <c:v>22.VI.21</c:v>
                </c:pt>
                <c:pt idx="180">
                  <c:v>23.VI.21</c:v>
                </c:pt>
                <c:pt idx="181">
                  <c:v>24.VI.21</c:v>
                </c:pt>
                <c:pt idx="182">
                  <c:v>25.VI.21</c:v>
                </c:pt>
                <c:pt idx="183">
                  <c:v>26.VI.21</c:v>
                </c:pt>
                <c:pt idx="184">
                  <c:v>27.VI.21</c:v>
                </c:pt>
                <c:pt idx="185">
                  <c:v>28.VI.21</c:v>
                </c:pt>
                <c:pt idx="186">
                  <c:v>29.VI.21</c:v>
                </c:pt>
                <c:pt idx="187">
                  <c:v>30.VI.21</c:v>
                </c:pt>
                <c:pt idx="188">
                  <c:v>1.VII.21</c:v>
                </c:pt>
                <c:pt idx="189">
                  <c:v>2.VII.21</c:v>
                </c:pt>
                <c:pt idx="190">
                  <c:v>3.VII.21</c:v>
                </c:pt>
                <c:pt idx="191">
                  <c:v>4.VII.21</c:v>
                </c:pt>
                <c:pt idx="192">
                  <c:v>5.VII.21</c:v>
                </c:pt>
                <c:pt idx="193">
                  <c:v>6.VII.21</c:v>
                </c:pt>
                <c:pt idx="194">
                  <c:v>7.VII.21</c:v>
                </c:pt>
                <c:pt idx="195">
                  <c:v>8.VII.21</c:v>
                </c:pt>
                <c:pt idx="196">
                  <c:v>9.VII.21</c:v>
                </c:pt>
                <c:pt idx="197">
                  <c:v>10.VII.21</c:v>
                </c:pt>
                <c:pt idx="198">
                  <c:v>11.VII.21</c:v>
                </c:pt>
                <c:pt idx="199">
                  <c:v>12.VII.21</c:v>
                </c:pt>
                <c:pt idx="200">
                  <c:v>13.VII.21</c:v>
                </c:pt>
                <c:pt idx="201">
                  <c:v>14.VII.21</c:v>
                </c:pt>
                <c:pt idx="202">
                  <c:v>15.VII.21</c:v>
                </c:pt>
                <c:pt idx="203">
                  <c:v>16.VII.21</c:v>
                </c:pt>
                <c:pt idx="204">
                  <c:v>17.VII.21</c:v>
                </c:pt>
                <c:pt idx="205">
                  <c:v>18.VII.21</c:v>
                </c:pt>
                <c:pt idx="206">
                  <c:v>19.VII.21</c:v>
                </c:pt>
                <c:pt idx="207">
                  <c:v>20.VII.21</c:v>
                </c:pt>
                <c:pt idx="208">
                  <c:v>21.VII.21</c:v>
                </c:pt>
                <c:pt idx="209">
                  <c:v>22.VII.21</c:v>
                </c:pt>
                <c:pt idx="210">
                  <c:v>23.VII.21</c:v>
                </c:pt>
                <c:pt idx="211">
                  <c:v>24.VII.21</c:v>
                </c:pt>
                <c:pt idx="212">
                  <c:v>25.VII.21</c:v>
                </c:pt>
                <c:pt idx="213">
                  <c:v>26.VII.21</c:v>
                </c:pt>
                <c:pt idx="214">
                  <c:v>27.VII.21</c:v>
                </c:pt>
                <c:pt idx="215">
                  <c:v>28.VII.21</c:v>
                </c:pt>
                <c:pt idx="216">
                  <c:v>29.VII.21</c:v>
                </c:pt>
                <c:pt idx="217">
                  <c:v>30.VII.21</c:v>
                </c:pt>
                <c:pt idx="218">
                  <c:v>31.VII.21</c:v>
                </c:pt>
                <c:pt idx="219">
                  <c:v>1.VIII.21</c:v>
                </c:pt>
                <c:pt idx="220">
                  <c:v>2.VIII.21</c:v>
                </c:pt>
                <c:pt idx="221">
                  <c:v>3.VIII.21</c:v>
                </c:pt>
                <c:pt idx="222">
                  <c:v>4.VIII.21</c:v>
                </c:pt>
                <c:pt idx="223">
                  <c:v>5.VIII.21</c:v>
                </c:pt>
                <c:pt idx="224">
                  <c:v>6.VIII.21</c:v>
                </c:pt>
                <c:pt idx="225">
                  <c:v>7.VIII.21</c:v>
                </c:pt>
                <c:pt idx="226">
                  <c:v>8.VIII.21</c:v>
                </c:pt>
                <c:pt idx="227">
                  <c:v>9.VIII.21</c:v>
                </c:pt>
                <c:pt idx="228">
                  <c:v>10.VIII.21</c:v>
                </c:pt>
                <c:pt idx="229">
                  <c:v>11.VIII.21</c:v>
                </c:pt>
                <c:pt idx="230">
                  <c:v>12.VIII.21</c:v>
                </c:pt>
                <c:pt idx="231">
                  <c:v>13.VIII.21</c:v>
                </c:pt>
                <c:pt idx="232">
                  <c:v>14.VIII.21</c:v>
                </c:pt>
                <c:pt idx="233">
                  <c:v>15.VIII.21</c:v>
                </c:pt>
                <c:pt idx="234">
                  <c:v>16.VIII.21</c:v>
                </c:pt>
                <c:pt idx="235">
                  <c:v>17.VIII.21</c:v>
                </c:pt>
                <c:pt idx="236">
                  <c:v>18.VIII.21</c:v>
                </c:pt>
                <c:pt idx="237">
                  <c:v>19.VIII.21</c:v>
                </c:pt>
                <c:pt idx="238">
                  <c:v>20.VIII.21</c:v>
                </c:pt>
                <c:pt idx="239">
                  <c:v>21.VIII.21</c:v>
                </c:pt>
                <c:pt idx="240">
                  <c:v>22.VIII.21</c:v>
                </c:pt>
                <c:pt idx="241">
                  <c:v>23.VIII.21</c:v>
                </c:pt>
                <c:pt idx="242">
                  <c:v>24.VIII.21</c:v>
                </c:pt>
                <c:pt idx="243">
                  <c:v>25.VIII.21</c:v>
                </c:pt>
                <c:pt idx="244">
                  <c:v>26.VIII.21</c:v>
                </c:pt>
                <c:pt idx="245">
                  <c:v>27.VIII.21</c:v>
                </c:pt>
                <c:pt idx="246">
                  <c:v>28.VIII.21</c:v>
                </c:pt>
                <c:pt idx="247">
                  <c:v>29.VIII.21</c:v>
                </c:pt>
                <c:pt idx="248">
                  <c:v>30.VIII.21</c:v>
                </c:pt>
                <c:pt idx="249">
                  <c:v>31.VIII.21</c:v>
                </c:pt>
                <c:pt idx="250">
                  <c:v>1.IX.21</c:v>
                </c:pt>
                <c:pt idx="251">
                  <c:v>2.IX.21</c:v>
                </c:pt>
                <c:pt idx="252">
                  <c:v>3.IX.21</c:v>
                </c:pt>
                <c:pt idx="253">
                  <c:v>4.IX.21</c:v>
                </c:pt>
                <c:pt idx="254">
                  <c:v>5.IX.21</c:v>
                </c:pt>
                <c:pt idx="255">
                  <c:v>6.IX.21</c:v>
                </c:pt>
                <c:pt idx="256">
                  <c:v>7.IX.21</c:v>
                </c:pt>
                <c:pt idx="257">
                  <c:v>8.IX.21</c:v>
                </c:pt>
                <c:pt idx="258">
                  <c:v>9.IX.21</c:v>
                </c:pt>
                <c:pt idx="259">
                  <c:v>10.IX.21</c:v>
                </c:pt>
                <c:pt idx="260">
                  <c:v>11.IX.21</c:v>
                </c:pt>
                <c:pt idx="261">
                  <c:v>12.IX.21</c:v>
                </c:pt>
                <c:pt idx="262">
                  <c:v>13.IX.21</c:v>
                </c:pt>
                <c:pt idx="263">
                  <c:v>14.IX.21</c:v>
                </c:pt>
                <c:pt idx="264">
                  <c:v>15.IX.21</c:v>
                </c:pt>
                <c:pt idx="265">
                  <c:v>16.IX.21</c:v>
                </c:pt>
                <c:pt idx="266">
                  <c:v>17.IX.21</c:v>
                </c:pt>
                <c:pt idx="267">
                  <c:v>18.IX.21</c:v>
                </c:pt>
                <c:pt idx="268">
                  <c:v>19.IX.21</c:v>
                </c:pt>
                <c:pt idx="269">
                  <c:v>20.IX.21</c:v>
                </c:pt>
                <c:pt idx="270">
                  <c:v>21.IX.21</c:v>
                </c:pt>
                <c:pt idx="271">
                  <c:v>22.IX.21</c:v>
                </c:pt>
                <c:pt idx="272">
                  <c:v>23.IX.21</c:v>
                </c:pt>
                <c:pt idx="273">
                  <c:v>24.IX.21</c:v>
                </c:pt>
                <c:pt idx="274">
                  <c:v>25.IX.21</c:v>
                </c:pt>
                <c:pt idx="275">
                  <c:v>26.IX.21</c:v>
                </c:pt>
                <c:pt idx="276">
                  <c:v>27.IX.21</c:v>
                </c:pt>
                <c:pt idx="277">
                  <c:v>28.IX.21</c:v>
                </c:pt>
                <c:pt idx="278">
                  <c:v>29.IX.21</c:v>
                </c:pt>
                <c:pt idx="279">
                  <c:v>30.IX.21</c:v>
                </c:pt>
                <c:pt idx="280">
                  <c:v>1.X.21</c:v>
                </c:pt>
                <c:pt idx="281">
                  <c:v>2.X.21</c:v>
                </c:pt>
                <c:pt idx="282">
                  <c:v>3.X.21</c:v>
                </c:pt>
                <c:pt idx="283">
                  <c:v>4.X.21</c:v>
                </c:pt>
                <c:pt idx="284">
                  <c:v>5.X.21</c:v>
                </c:pt>
                <c:pt idx="285">
                  <c:v>6.X.21</c:v>
                </c:pt>
                <c:pt idx="286">
                  <c:v>7.X.21</c:v>
                </c:pt>
                <c:pt idx="287">
                  <c:v>8.X.21</c:v>
                </c:pt>
                <c:pt idx="288">
                  <c:v>9.X.21</c:v>
                </c:pt>
                <c:pt idx="289">
                  <c:v>10.X.21</c:v>
                </c:pt>
                <c:pt idx="290">
                  <c:v>11.X.21</c:v>
                </c:pt>
                <c:pt idx="291">
                  <c:v>12.X.21</c:v>
                </c:pt>
                <c:pt idx="292">
                  <c:v>13.X.21</c:v>
                </c:pt>
                <c:pt idx="293">
                  <c:v>14.X.21</c:v>
                </c:pt>
                <c:pt idx="294">
                  <c:v>15.X.21</c:v>
                </c:pt>
                <c:pt idx="295">
                  <c:v>16.X.21</c:v>
                </c:pt>
                <c:pt idx="296">
                  <c:v>17.X.21</c:v>
                </c:pt>
                <c:pt idx="297">
                  <c:v>18.X.21</c:v>
                </c:pt>
                <c:pt idx="298">
                  <c:v>19.X.21</c:v>
                </c:pt>
                <c:pt idx="299">
                  <c:v>20.X.21</c:v>
                </c:pt>
                <c:pt idx="300">
                  <c:v>21.X.21</c:v>
                </c:pt>
                <c:pt idx="301">
                  <c:v>22.X.21</c:v>
                </c:pt>
                <c:pt idx="302">
                  <c:v>23.X.21</c:v>
                </c:pt>
                <c:pt idx="303">
                  <c:v>24.X.21</c:v>
                </c:pt>
                <c:pt idx="304">
                  <c:v>25.X.21</c:v>
                </c:pt>
                <c:pt idx="305">
                  <c:v>26.X.21</c:v>
                </c:pt>
                <c:pt idx="306">
                  <c:v>27.X.21</c:v>
                </c:pt>
                <c:pt idx="307">
                  <c:v>28.X.21</c:v>
                </c:pt>
                <c:pt idx="308">
                  <c:v>29.X.21</c:v>
                </c:pt>
                <c:pt idx="309">
                  <c:v>30.X.21</c:v>
                </c:pt>
                <c:pt idx="310">
                  <c:v>31.X.21</c:v>
                </c:pt>
                <c:pt idx="311">
                  <c:v>1.XI.21</c:v>
                </c:pt>
                <c:pt idx="312">
                  <c:v>2.XI.21</c:v>
                </c:pt>
                <c:pt idx="313">
                  <c:v>3.XI.21</c:v>
                </c:pt>
                <c:pt idx="314">
                  <c:v>4.XI.21</c:v>
                </c:pt>
                <c:pt idx="315">
                  <c:v>5.XI.21</c:v>
                </c:pt>
                <c:pt idx="316">
                  <c:v>6.XI.21</c:v>
                </c:pt>
                <c:pt idx="317">
                  <c:v>7.XI.21</c:v>
                </c:pt>
                <c:pt idx="318">
                  <c:v>8.XI.21</c:v>
                </c:pt>
                <c:pt idx="319">
                  <c:v>9.XI.21</c:v>
                </c:pt>
                <c:pt idx="320">
                  <c:v>10.XI.21</c:v>
                </c:pt>
                <c:pt idx="321">
                  <c:v>11.XI.21</c:v>
                </c:pt>
                <c:pt idx="322">
                  <c:v>12.XI.21</c:v>
                </c:pt>
                <c:pt idx="323">
                  <c:v>13.XI.21</c:v>
                </c:pt>
                <c:pt idx="324">
                  <c:v>14.XI.21</c:v>
                </c:pt>
                <c:pt idx="325">
                  <c:v>15.XI.21</c:v>
                </c:pt>
                <c:pt idx="326">
                  <c:v>16.XI.21</c:v>
                </c:pt>
                <c:pt idx="327">
                  <c:v>17.XI.21</c:v>
                </c:pt>
                <c:pt idx="328">
                  <c:v>18.XI.21</c:v>
                </c:pt>
                <c:pt idx="329">
                  <c:v>19.XI.21</c:v>
                </c:pt>
                <c:pt idx="330">
                  <c:v>20.XI.21</c:v>
                </c:pt>
                <c:pt idx="331">
                  <c:v>21.XI.21</c:v>
                </c:pt>
                <c:pt idx="332">
                  <c:v>22.XI.21</c:v>
                </c:pt>
                <c:pt idx="333">
                  <c:v>23.XI.21</c:v>
                </c:pt>
                <c:pt idx="334">
                  <c:v>24.XI.21</c:v>
                </c:pt>
                <c:pt idx="335">
                  <c:v>25.XI.21</c:v>
                </c:pt>
                <c:pt idx="336">
                  <c:v>26.XI.21</c:v>
                </c:pt>
                <c:pt idx="337">
                  <c:v>27.XI.21</c:v>
                </c:pt>
                <c:pt idx="338">
                  <c:v>28.XI.21</c:v>
                </c:pt>
                <c:pt idx="339">
                  <c:v>29.XI.21</c:v>
                </c:pt>
                <c:pt idx="340">
                  <c:v>30.XI.21</c:v>
                </c:pt>
                <c:pt idx="341">
                  <c:v>1.XII.21</c:v>
                </c:pt>
                <c:pt idx="342">
                  <c:v>2.XII.21</c:v>
                </c:pt>
                <c:pt idx="343">
                  <c:v>3.XII.21</c:v>
                </c:pt>
                <c:pt idx="344">
                  <c:v>4.XII.21</c:v>
                </c:pt>
                <c:pt idx="345">
                  <c:v>5.XII.21</c:v>
                </c:pt>
                <c:pt idx="346">
                  <c:v>6.XII.21</c:v>
                </c:pt>
                <c:pt idx="347">
                  <c:v>7.XII.21</c:v>
                </c:pt>
                <c:pt idx="348">
                  <c:v>8.XII.21</c:v>
                </c:pt>
                <c:pt idx="349">
                  <c:v>9.XII.21</c:v>
                </c:pt>
                <c:pt idx="350">
                  <c:v>10.XII.21</c:v>
                </c:pt>
                <c:pt idx="351">
                  <c:v>11.XII.21</c:v>
                </c:pt>
                <c:pt idx="352">
                  <c:v>12.XII.21</c:v>
                </c:pt>
                <c:pt idx="353">
                  <c:v>13.XII.21</c:v>
                </c:pt>
                <c:pt idx="354">
                  <c:v>14.XII.21</c:v>
                </c:pt>
                <c:pt idx="355">
                  <c:v>15.XII.21</c:v>
                </c:pt>
                <c:pt idx="356">
                  <c:v>16.XII.21</c:v>
                </c:pt>
                <c:pt idx="357">
                  <c:v>17.XII.21</c:v>
                </c:pt>
                <c:pt idx="358">
                  <c:v>18.XII.21</c:v>
                </c:pt>
                <c:pt idx="359">
                  <c:v>19.XII.21</c:v>
                </c:pt>
                <c:pt idx="360">
                  <c:v>20.XII.21</c:v>
                </c:pt>
                <c:pt idx="361">
                  <c:v>21.XII.21</c:v>
                </c:pt>
                <c:pt idx="362">
                  <c:v>22.XII.21</c:v>
                </c:pt>
                <c:pt idx="363">
                  <c:v>23.XII.21</c:v>
                </c:pt>
                <c:pt idx="364">
                  <c:v>24.XII.21</c:v>
                </c:pt>
                <c:pt idx="365">
                  <c:v>27.XII.21</c:v>
                </c:pt>
                <c:pt idx="366">
                  <c:v>28.XII.21</c:v>
                </c:pt>
                <c:pt idx="367">
                  <c:v>29.XII.21</c:v>
                </c:pt>
                <c:pt idx="368">
                  <c:v>30.XII.21</c:v>
                </c:pt>
                <c:pt idx="369">
                  <c:v>31.XII.21</c:v>
                </c:pt>
                <c:pt idx="370">
                  <c:v>2.I.22</c:v>
                </c:pt>
                <c:pt idx="371">
                  <c:v>3.I.22</c:v>
                </c:pt>
                <c:pt idx="372">
                  <c:v>4.I.22</c:v>
                </c:pt>
                <c:pt idx="373">
                  <c:v>5.I.22</c:v>
                </c:pt>
                <c:pt idx="374">
                  <c:v>6.I.22</c:v>
                </c:pt>
                <c:pt idx="375">
                  <c:v>7.I.22</c:v>
                </c:pt>
                <c:pt idx="376">
                  <c:v>8.I.22</c:v>
                </c:pt>
                <c:pt idx="377">
                  <c:v>9.I.22</c:v>
                </c:pt>
                <c:pt idx="378">
                  <c:v>10.I.22</c:v>
                </c:pt>
                <c:pt idx="379">
                  <c:v>11.I.22</c:v>
                </c:pt>
                <c:pt idx="380">
                  <c:v>12.I.22</c:v>
                </c:pt>
                <c:pt idx="381">
                  <c:v>13.I.22</c:v>
                </c:pt>
                <c:pt idx="382">
                  <c:v>14.I.22</c:v>
                </c:pt>
                <c:pt idx="383">
                  <c:v>15.I.22</c:v>
                </c:pt>
                <c:pt idx="384">
                  <c:v>16.I.22</c:v>
                </c:pt>
                <c:pt idx="385">
                  <c:v>17.I.22</c:v>
                </c:pt>
                <c:pt idx="386">
                  <c:v>18.I.22</c:v>
                </c:pt>
                <c:pt idx="387">
                  <c:v>19.I.22</c:v>
                </c:pt>
                <c:pt idx="388">
                  <c:v>20.I.22</c:v>
                </c:pt>
                <c:pt idx="389">
                  <c:v>21.I.22</c:v>
                </c:pt>
                <c:pt idx="390">
                  <c:v>22.I.22</c:v>
                </c:pt>
                <c:pt idx="391">
                  <c:v>23.I.22</c:v>
                </c:pt>
                <c:pt idx="392">
                  <c:v>24.I.22</c:v>
                </c:pt>
                <c:pt idx="393">
                  <c:v>25.I.22</c:v>
                </c:pt>
                <c:pt idx="394">
                  <c:v>26.I.22</c:v>
                </c:pt>
                <c:pt idx="395">
                  <c:v>27.I.22</c:v>
                </c:pt>
                <c:pt idx="396">
                  <c:v>28.I.22</c:v>
                </c:pt>
                <c:pt idx="397">
                  <c:v>29.I.22</c:v>
                </c:pt>
                <c:pt idx="398">
                  <c:v>30.I.22</c:v>
                </c:pt>
                <c:pt idx="399">
                  <c:v>31.I.22</c:v>
                </c:pt>
                <c:pt idx="400">
                  <c:v>1.II.22</c:v>
                </c:pt>
                <c:pt idx="401">
                  <c:v>2.II.22</c:v>
                </c:pt>
                <c:pt idx="402">
                  <c:v>3.II.22</c:v>
                </c:pt>
                <c:pt idx="403">
                  <c:v>4.II.22</c:v>
                </c:pt>
                <c:pt idx="404">
                  <c:v>5.II.22</c:v>
                </c:pt>
                <c:pt idx="405">
                  <c:v>6.II.22</c:v>
                </c:pt>
                <c:pt idx="406">
                  <c:v>7.II.22</c:v>
                </c:pt>
                <c:pt idx="407">
                  <c:v>8.II.22</c:v>
                </c:pt>
                <c:pt idx="408">
                  <c:v>9.II.22</c:v>
                </c:pt>
                <c:pt idx="409">
                  <c:v>10.II.22</c:v>
                </c:pt>
                <c:pt idx="410">
                  <c:v>11.II.22</c:v>
                </c:pt>
                <c:pt idx="411">
                  <c:v>12.II.22</c:v>
                </c:pt>
                <c:pt idx="412">
                  <c:v>14.II.22</c:v>
                </c:pt>
                <c:pt idx="413">
                  <c:v>15.II.22</c:v>
                </c:pt>
                <c:pt idx="414">
                  <c:v>16.II.22</c:v>
                </c:pt>
                <c:pt idx="415">
                  <c:v>17.II.22</c:v>
                </c:pt>
                <c:pt idx="416">
                  <c:v>18.II.22</c:v>
                </c:pt>
                <c:pt idx="417">
                  <c:v>19.II.22</c:v>
                </c:pt>
                <c:pt idx="418">
                  <c:v>21.II.22</c:v>
                </c:pt>
                <c:pt idx="419">
                  <c:v>22.II.22</c:v>
                </c:pt>
                <c:pt idx="420">
                  <c:v>23.II.22</c:v>
                </c:pt>
                <c:pt idx="421">
                  <c:v>24.II.22</c:v>
                </c:pt>
                <c:pt idx="422">
                  <c:v>25.II.22</c:v>
                </c:pt>
                <c:pt idx="423">
                  <c:v>28.II.22</c:v>
                </c:pt>
                <c:pt idx="424">
                  <c:v>1.III.22</c:v>
                </c:pt>
                <c:pt idx="425">
                  <c:v>2.III.22</c:v>
                </c:pt>
                <c:pt idx="426">
                  <c:v>3.III.22</c:v>
                </c:pt>
                <c:pt idx="427">
                  <c:v>4.III.22</c:v>
                </c:pt>
              </c:strCache>
            </c:strRef>
          </c:cat>
          <c:val>
            <c:numRef>
              <c:f>List1!$G$4:$PR$4</c:f>
              <c:numCache>
                <c:formatCode>General</c:formatCode>
                <c:ptCount val="428"/>
                <c:pt idx="2">
                  <c:v>193</c:v>
                </c:pt>
                <c:pt idx="3">
                  <c:v>640</c:v>
                </c:pt>
                <c:pt idx="4">
                  <c:v>1248</c:v>
                </c:pt>
                <c:pt idx="5">
                  <c:v>1874</c:v>
                </c:pt>
                <c:pt idx="6">
                  <c:v>2047</c:v>
                </c:pt>
                <c:pt idx="7">
                  <c:v>2076</c:v>
                </c:pt>
                <c:pt idx="8">
                  <c:v>2364</c:v>
                </c:pt>
                <c:pt idx="9">
                  <c:v>2575</c:v>
                </c:pt>
                <c:pt idx="10">
                  <c:v>3202</c:v>
                </c:pt>
                <c:pt idx="11">
                  <c:v>4164</c:v>
                </c:pt>
                <c:pt idx="12">
                  <c:v>5582</c:v>
                </c:pt>
                <c:pt idx="13">
                  <c:v>7182</c:v>
                </c:pt>
                <c:pt idx="14">
                  <c:v>9029</c:v>
                </c:pt>
                <c:pt idx="15">
                  <c:v>9337</c:v>
                </c:pt>
                <c:pt idx="16">
                  <c:v>9646</c:v>
                </c:pt>
                <c:pt idx="17">
                  <c:v>11511</c:v>
                </c:pt>
                <c:pt idx="18">
                  <c:v>13792</c:v>
                </c:pt>
                <c:pt idx="19">
                  <c:v>15832</c:v>
                </c:pt>
                <c:pt idx="20">
                  <c:v>17720</c:v>
                </c:pt>
                <c:pt idx="21">
                  <c:v>19329</c:v>
                </c:pt>
                <c:pt idx="22">
                  <c:v>19549</c:v>
                </c:pt>
                <c:pt idx="23">
                  <c:v>19645</c:v>
                </c:pt>
                <c:pt idx="24">
                  <c:v>20819</c:v>
                </c:pt>
                <c:pt idx="25">
                  <c:v>21753</c:v>
                </c:pt>
                <c:pt idx="26">
                  <c:v>22697</c:v>
                </c:pt>
                <c:pt idx="27">
                  <c:v>23554</c:v>
                </c:pt>
                <c:pt idx="28">
                  <c:v>24306</c:v>
                </c:pt>
                <c:pt idx="29">
                  <c:v>24370</c:v>
                </c:pt>
                <c:pt idx="30">
                  <c:v>24415</c:v>
                </c:pt>
                <c:pt idx="31">
                  <c:v>24866</c:v>
                </c:pt>
                <c:pt idx="32">
                  <c:v>25319</c:v>
                </c:pt>
                <c:pt idx="33">
                  <c:v>25715</c:v>
                </c:pt>
                <c:pt idx="34">
                  <c:v>26118</c:v>
                </c:pt>
                <c:pt idx="35">
                  <c:v>26502</c:v>
                </c:pt>
                <c:pt idx="36">
                  <c:v>26526</c:v>
                </c:pt>
                <c:pt idx="37">
                  <c:v>26558</c:v>
                </c:pt>
                <c:pt idx="38">
                  <c:v>26850</c:v>
                </c:pt>
                <c:pt idx="39">
                  <c:v>27140</c:v>
                </c:pt>
                <c:pt idx="40">
                  <c:v>27372</c:v>
                </c:pt>
                <c:pt idx="41">
                  <c:v>27556</c:v>
                </c:pt>
                <c:pt idx="42">
                  <c:v>27791</c:v>
                </c:pt>
                <c:pt idx="43">
                  <c:v>27800</c:v>
                </c:pt>
                <c:pt idx="44">
                  <c:v>27818</c:v>
                </c:pt>
                <c:pt idx="45">
                  <c:v>28055</c:v>
                </c:pt>
                <c:pt idx="46">
                  <c:v>28250</c:v>
                </c:pt>
                <c:pt idx="47">
                  <c:v>28517</c:v>
                </c:pt>
                <c:pt idx="48">
                  <c:v>28868</c:v>
                </c:pt>
                <c:pt idx="49">
                  <c:v>29260</c:v>
                </c:pt>
                <c:pt idx="50">
                  <c:v>29372</c:v>
                </c:pt>
                <c:pt idx="51">
                  <c:v>29438</c:v>
                </c:pt>
                <c:pt idx="52">
                  <c:v>29853</c:v>
                </c:pt>
                <c:pt idx="53">
                  <c:v>30359</c:v>
                </c:pt>
                <c:pt idx="54">
                  <c:v>30904</c:v>
                </c:pt>
                <c:pt idx="55">
                  <c:v>31461</c:v>
                </c:pt>
                <c:pt idx="56">
                  <c:v>32115</c:v>
                </c:pt>
                <c:pt idx="57">
                  <c:v>32340</c:v>
                </c:pt>
                <c:pt idx="58">
                  <c:v>32397</c:v>
                </c:pt>
                <c:pt idx="59">
                  <c:v>33081</c:v>
                </c:pt>
                <c:pt idx="60">
                  <c:v>34081</c:v>
                </c:pt>
                <c:pt idx="61">
                  <c:v>35160</c:v>
                </c:pt>
                <c:pt idx="62">
                  <c:v>36312</c:v>
                </c:pt>
                <c:pt idx="63">
                  <c:v>37385</c:v>
                </c:pt>
                <c:pt idx="64">
                  <c:v>37544</c:v>
                </c:pt>
                <c:pt idx="65">
                  <c:v>37674</c:v>
                </c:pt>
                <c:pt idx="66">
                  <c:v>38787</c:v>
                </c:pt>
                <c:pt idx="67">
                  <c:v>39996</c:v>
                </c:pt>
                <c:pt idx="68">
                  <c:v>41108</c:v>
                </c:pt>
                <c:pt idx="69">
                  <c:v>42110</c:v>
                </c:pt>
                <c:pt idx="70">
                  <c:v>43297</c:v>
                </c:pt>
                <c:pt idx="71">
                  <c:v>43587</c:v>
                </c:pt>
                <c:pt idx="72">
                  <c:v>43802</c:v>
                </c:pt>
                <c:pt idx="73">
                  <c:v>44645</c:v>
                </c:pt>
                <c:pt idx="74">
                  <c:v>45467</c:v>
                </c:pt>
                <c:pt idx="75">
                  <c:v>46365</c:v>
                </c:pt>
                <c:pt idx="76">
                  <c:v>47562</c:v>
                </c:pt>
                <c:pt idx="77">
                  <c:v>48674</c:v>
                </c:pt>
                <c:pt idx="78">
                  <c:v>48958</c:v>
                </c:pt>
                <c:pt idx="79">
                  <c:v>49199</c:v>
                </c:pt>
                <c:pt idx="80">
                  <c:v>49831</c:v>
                </c:pt>
                <c:pt idx="81">
                  <c:v>50759</c:v>
                </c:pt>
                <c:pt idx="82">
                  <c:v>51698</c:v>
                </c:pt>
                <c:pt idx="83">
                  <c:v>52476</c:v>
                </c:pt>
                <c:pt idx="84">
                  <c:v>53433</c:v>
                </c:pt>
                <c:pt idx="85">
                  <c:v>53833</c:v>
                </c:pt>
                <c:pt idx="86">
                  <c:v>54038</c:v>
                </c:pt>
                <c:pt idx="87">
                  <c:v>54487</c:v>
                </c:pt>
                <c:pt idx="88">
                  <c:v>54982</c:v>
                </c:pt>
                <c:pt idx="89">
                  <c:v>55398</c:v>
                </c:pt>
                <c:pt idx="90">
                  <c:v>55943</c:v>
                </c:pt>
                <c:pt idx="91">
                  <c:v>56521</c:v>
                </c:pt>
                <c:pt idx="92">
                  <c:v>56681</c:v>
                </c:pt>
                <c:pt idx="93">
                  <c:v>56817</c:v>
                </c:pt>
                <c:pt idx="94">
                  <c:v>57127</c:v>
                </c:pt>
                <c:pt idx="95">
                  <c:v>57549</c:v>
                </c:pt>
                <c:pt idx="96">
                  <c:v>58044</c:v>
                </c:pt>
                <c:pt idx="97">
                  <c:v>58474</c:v>
                </c:pt>
                <c:pt idx="98">
                  <c:v>58561</c:v>
                </c:pt>
                <c:pt idx="99">
                  <c:v>58619</c:v>
                </c:pt>
                <c:pt idx="100">
                  <c:v>58657</c:v>
                </c:pt>
                <c:pt idx="101">
                  <c:v>58686</c:v>
                </c:pt>
                <c:pt idx="102">
                  <c:v>58915</c:v>
                </c:pt>
                <c:pt idx="103">
                  <c:v>59178</c:v>
                </c:pt>
                <c:pt idx="104">
                  <c:v>59718</c:v>
                </c:pt>
                <c:pt idx="105">
                  <c:v>60221</c:v>
                </c:pt>
                <c:pt idx="106">
                  <c:v>60394</c:v>
                </c:pt>
                <c:pt idx="107">
                  <c:v>60510</c:v>
                </c:pt>
                <c:pt idx="108">
                  <c:v>60887</c:v>
                </c:pt>
                <c:pt idx="109">
                  <c:v>61200</c:v>
                </c:pt>
                <c:pt idx="110">
                  <c:v>61585</c:v>
                </c:pt>
                <c:pt idx="111">
                  <c:v>62136</c:v>
                </c:pt>
                <c:pt idx="112">
                  <c:v>62783</c:v>
                </c:pt>
                <c:pt idx="113">
                  <c:v>62961</c:v>
                </c:pt>
                <c:pt idx="114">
                  <c:v>63155</c:v>
                </c:pt>
                <c:pt idx="115">
                  <c:v>63612</c:v>
                </c:pt>
                <c:pt idx="116">
                  <c:v>64038</c:v>
                </c:pt>
                <c:pt idx="117">
                  <c:v>64538</c:v>
                </c:pt>
                <c:pt idx="118">
                  <c:v>65138</c:v>
                </c:pt>
                <c:pt idx="119">
                  <c:v>65785</c:v>
                </c:pt>
                <c:pt idx="120">
                  <c:v>65969</c:v>
                </c:pt>
                <c:pt idx="121">
                  <c:v>66120</c:v>
                </c:pt>
                <c:pt idx="122">
                  <c:v>66601</c:v>
                </c:pt>
                <c:pt idx="123">
                  <c:v>67023</c:v>
                </c:pt>
                <c:pt idx="124">
                  <c:v>67591</c:v>
                </c:pt>
                <c:pt idx="125">
                  <c:v>68178</c:v>
                </c:pt>
                <c:pt idx="126">
                  <c:v>68796</c:v>
                </c:pt>
                <c:pt idx="127">
                  <c:v>68950</c:v>
                </c:pt>
                <c:pt idx="128">
                  <c:v>69105</c:v>
                </c:pt>
                <c:pt idx="129">
                  <c:v>69561</c:v>
                </c:pt>
                <c:pt idx="130">
                  <c:v>70020</c:v>
                </c:pt>
                <c:pt idx="131">
                  <c:v>70546</c:v>
                </c:pt>
                <c:pt idx="132">
                  <c:v>71078</c:v>
                </c:pt>
                <c:pt idx="133">
                  <c:v>71640</c:v>
                </c:pt>
                <c:pt idx="134">
                  <c:v>71862</c:v>
                </c:pt>
                <c:pt idx="135">
                  <c:v>72032</c:v>
                </c:pt>
                <c:pt idx="136">
                  <c:v>72508</c:v>
                </c:pt>
                <c:pt idx="137">
                  <c:v>72940</c:v>
                </c:pt>
                <c:pt idx="138">
                  <c:v>73417</c:v>
                </c:pt>
                <c:pt idx="139">
                  <c:v>73966</c:v>
                </c:pt>
                <c:pt idx="140">
                  <c:v>74477</c:v>
                </c:pt>
                <c:pt idx="141">
                  <c:v>74686</c:v>
                </c:pt>
                <c:pt idx="142">
                  <c:v>74836</c:v>
                </c:pt>
                <c:pt idx="143">
                  <c:v>75226</c:v>
                </c:pt>
                <c:pt idx="144">
                  <c:v>75644</c:v>
                </c:pt>
                <c:pt idx="145">
                  <c:v>76108</c:v>
                </c:pt>
                <c:pt idx="146">
                  <c:v>76554</c:v>
                </c:pt>
                <c:pt idx="147">
                  <c:v>77011</c:v>
                </c:pt>
                <c:pt idx="148">
                  <c:v>77189</c:v>
                </c:pt>
                <c:pt idx="149">
                  <c:v>77305</c:v>
                </c:pt>
                <c:pt idx="150">
                  <c:v>77594</c:v>
                </c:pt>
                <c:pt idx="151">
                  <c:v>77924</c:v>
                </c:pt>
                <c:pt idx="152">
                  <c:v>78336</c:v>
                </c:pt>
                <c:pt idx="153">
                  <c:v>78709</c:v>
                </c:pt>
                <c:pt idx="154">
                  <c:v>79149</c:v>
                </c:pt>
                <c:pt idx="155">
                  <c:v>79336</c:v>
                </c:pt>
                <c:pt idx="156">
                  <c:v>79503</c:v>
                </c:pt>
                <c:pt idx="157">
                  <c:v>79846</c:v>
                </c:pt>
                <c:pt idx="158">
                  <c:v>80218</c:v>
                </c:pt>
                <c:pt idx="159">
                  <c:v>80670</c:v>
                </c:pt>
                <c:pt idx="160">
                  <c:v>81087</c:v>
                </c:pt>
                <c:pt idx="161">
                  <c:v>81554</c:v>
                </c:pt>
                <c:pt idx="162">
                  <c:v>81816</c:v>
                </c:pt>
                <c:pt idx="163">
                  <c:v>82060</c:v>
                </c:pt>
                <c:pt idx="164">
                  <c:v>82539</c:v>
                </c:pt>
                <c:pt idx="165">
                  <c:v>83087</c:v>
                </c:pt>
                <c:pt idx="166">
                  <c:v>83576</c:v>
                </c:pt>
                <c:pt idx="167">
                  <c:v>84010</c:v>
                </c:pt>
                <c:pt idx="168">
                  <c:v>84475</c:v>
                </c:pt>
                <c:pt idx="169">
                  <c:v>84768</c:v>
                </c:pt>
                <c:pt idx="170">
                  <c:v>84996</c:v>
                </c:pt>
                <c:pt idx="171">
                  <c:v>85352</c:v>
                </c:pt>
                <c:pt idx="172">
                  <c:v>85788</c:v>
                </c:pt>
                <c:pt idx="173">
                  <c:v>86178</c:v>
                </c:pt>
                <c:pt idx="174">
                  <c:v>86547</c:v>
                </c:pt>
                <c:pt idx="175">
                  <c:v>86929</c:v>
                </c:pt>
                <c:pt idx="176">
                  <c:v>87120</c:v>
                </c:pt>
                <c:pt idx="177">
                  <c:v>87262</c:v>
                </c:pt>
                <c:pt idx="178">
                  <c:v>87561</c:v>
                </c:pt>
                <c:pt idx="179">
                  <c:v>87880</c:v>
                </c:pt>
                <c:pt idx="180">
                  <c:v>88137</c:v>
                </c:pt>
                <c:pt idx="181">
                  <c:v>88427</c:v>
                </c:pt>
                <c:pt idx="182">
                  <c:v>88687</c:v>
                </c:pt>
                <c:pt idx="183">
                  <c:v>88839</c:v>
                </c:pt>
                <c:pt idx="184">
                  <c:v>88952</c:v>
                </c:pt>
                <c:pt idx="185">
                  <c:v>89225</c:v>
                </c:pt>
                <c:pt idx="186">
                  <c:v>89474</c:v>
                </c:pt>
                <c:pt idx="187">
                  <c:v>89718</c:v>
                </c:pt>
                <c:pt idx="188">
                  <c:v>89897</c:v>
                </c:pt>
                <c:pt idx="189">
                  <c:v>90135</c:v>
                </c:pt>
                <c:pt idx="190">
                  <c:v>90186</c:v>
                </c:pt>
                <c:pt idx="191">
                  <c:v>90247</c:v>
                </c:pt>
                <c:pt idx="192">
                  <c:v>90305</c:v>
                </c:pt>
                <c:pt idx="193">
                  <c:v>90365</c:v>
                </c:pt>
                <c:pt idx="194">
                  <c:v>90573</c:v>
                </c:pt>
                <c:pt idx="195">
                  <c:v>90791</c:v>
                </c:pt>
                <c:pt idx="196">
                  <c:v>91016</c:v>
                </c:pt>
                <c:pt idx="197">
                  <c:v>91109</c:v>
                </c:pt>
                <c:pt idx="198">
                  <c:v>91167</c:v>
                </c:pt>
                <c:pt idx="199">
                  <c:v>91403</c:v>
                </c:pt>
                <c:pt idx="200">
                  <c:v>91623</c:v>
                </c:pt>
                <c:pt idx="201">
                  <c:v>91864</c:v>
                </c:pt>
                <c:pt idx="202">
                  <c:v>92113</c:v>
                </c:pt>
                <c:pt idx="203">
                  <c:v>92364</c:v>
                </c:pt>
                <c:pt idx="204">
                  <c:v>92474</c:v>
                </c:pt>
                <c:pt idx="205">
                  <c:v>92543</c:v>
                </c:pt>
                <c:pt idx="206">
                  <c:v>92747</c:v>
                </c:pt>
                <c:pt idx="207">
                  <c:v>92907</c:v>
                </c:pt>
                <c:pt idx="208">
                  <c:v>93128</c:v>
                </c:pt>
                <c:pt idx="209">
                  <c:v>93307</c:v>
                </c:pt>
                <c:pt idx="210">
                  <c:v>93520</c:v>
                </c:pt>
                <c:pt idx="211">
                  <c:v>93582</c:v>
                </c:pt>
                <c:pt idx="212">
                  <c:v>93637</c:v>
                </c:pt>
                <c:pt idx="213">
                  <c:v>93819</c:v>
                </c:pt>
                <c:pt idx="214">
                  <c:v>94018</c:v>
                </c:pt>
                <c:pt idx="215">
                  <c:v>94195</c:v>
                </c:pt>
                <c:pt idx="216">
                  <c:v>94355</c:v>
                </c:pt>
                <c:pt idx="217">
                  <c:v>94567</c:v>
                </c:pt>
                <c:pt idx="218">
                  <c:v>94633</c:v>
                </c:pt>
                <c:pt idx="219">
                  <c:v>94683</c:v>
                </c:pt>
                <c:pt idx="220">
                  <c:v>94830</c:v>
                </c:pt>
                <c:pt idx="221">
                  <c:v>94960</c:v>
                </c:pt>
                <c:pt idx="222">
                  <c:v>95105</c:v>
                </c:pt>
                <c:pt idx="223">
                  <c:v>95232</c:v>
                </c:pt>
                <c:pt idx="224">
                  <c:v>95361</c:v>
                </c:pt>
                <c:pt idx="225">
                  <c:v>95399</c:v>
                </c:pt>
                <c:pt idx="226">
                  <c:v>95433</c:v>
                </c:pt>
                <c:pt idx="227">
                  <c:v>95537</c:v>
                </c:pt>
                <c:pt idx="228">
                  <c:v>95653</c:v>
                </c:pt>
                <c:pt idx="229">
                  <c:v>95726</c:v>
                </c:pt>
                <c:pt idx="230">
                  <c:v>95831</c:v>
                </c:pt>
                <c:pt idx="231">
                  <c:v>95935</c:v>
                </c:pt>
                <c:pt idx="232">
                  <c:v>95961</c:v>
                </c:pt>
                <c:pt idx="233">
                  <c:v>95980</c:v>
                </c:pt>
                <c:pt idx="234">
                  <c:v>96061</c:v>
                </c:pt>
                <c:pt idx="235">
                  <c:v>96140</c:v>
                </c:pt>
                <c:pt idx="236">
                  <c:v>96223</c:v>
                </c:pt>
                <c:pt idx="237">
                  <c:v>96295</c:v>
                </c:pt>
                <c:pt idx="238">
                  <c:v>96393</c:v>
                </c:pt>
                <c:pt idx="239">
                  <c:v>96411</c:v>
                </c:pt>
                <c:pt idx="240">
                  <c:v>96430</c:v>
                </c:pt>
                <c:pt idx="241">
                  <c:v>96524</c:v>
                </c:pt>
                <c:pt idx="242">
                  <c:v>96600</c:v>
                </c:pt>
                <c:pt idx="243">
                  <c:v>96677</c:v>
                </c:pt>
                <c:pt idx="244">
                  <c:v>96740</c:v>
                </c:pt>
                <c:pt idx="245">
                  <c:v>96843</c:v>
                </c:pt>
                <c:pt idx="246">
                  <c:v>96869</c:v>
                </c:pt>
                <c:pt idx="247">
                  <c:v>96879</c:v>
                </c:pt>
                <c:pt idx="248">
                  <c:v>96958</c:v>
                </c:pt>
                <c:pt idx="249">
                  <c:v>97037</c:v>
                </c:pt>
                <c:pt idx="250">
                  <c:v>97086</c:v>
                </c:pt>
                <c:pt idx="251">
                  <c:v>97159</c:v>
                </c:pt>
                <c:pt idx="252">
                  <c:v>97252</c:v>
                </c:pt>
                <c:pt idx="253">
                  <c:v>97267</c:v>
                </c:pt>
                <c:pt idx="254">
                  <c:v>97285</c:v>
                </c:pt>
                <c:pt idx="255">
                  <c:v>97349</c:v>
                </c:pt>
                <c:pt idx="256">
                  <c:v>97384</c:v>
                </c:pt>
                <c:pt idx="257">
                  <c:v>97437</c:v>
                </c:pt>
                <c:pt idx="258">
                  <c:v>97496</c:v>
                </c:pt>
                <c:pt idx="259">
                  <c:v>97566</c:v>
                </c:pt>
                <c:pt idx="260">
                  <c:v>97582</c:v>
                </c:pt>
                <c:pt idx="261">
                  <c:v>97595</c:v>
                </c:pt>
                <c:pt idx="262">
                  <c:v>97643</c:v>
                </c:pt>
                <c:pt idx="263">
                  <c:v>97694</c:v>
                </c:pt>
                <c:pt idx="264">
                  <c:v>97737</c:v>
                </c:pt>
                <c:pt idx="265">
                  <c:v>97783</c:v>
                </c:pt>
                <c:pt idx="266">
                  <c:v>97855</c:v>
                </c:pt>
                <c:pt idx="267">
                  <c:v>97874</c:v>
                </c:pt>
                <c:pt idx="268">
                  <c:v>97880</c:v>
                </c:pt>
                <c:pt idx="269">
                  <c:v>97924</c:v>
                </c:pt>
                <c:pt idx="270">
                  <c:v>97971</c:v>
                </c:pt>
                <c:pt idx="271">
                  <c:v>98014</c:v>
                </c:pt>
                <c:pt idx="272">
                  <c:v>98072</c:v>
                </c:pt>
                <c:pt idx="273">
                  <c:v>98141</c:v>
                </c:pt>
                <c:pt idx="274">
                  <c:v>98157</c:v>
                </c:pt>
                <c:pt idx="275">
                  <c:v>98163</c:v>
                </c:pt>
                <c:pt idx="276">
                  <c:v>98205</c:v>
                </c:pt>
                <c:pt idx="277">
                  <c:v>98211</c:v>
                </c:pt>
                <c:pt idx="278">
                  <c:v>98238</c:v>
                </c:pt>
                <c:pt idx="279">
                  <c:v>98284</c:v>
                </c:pt>
                <c:pt idx="280">
                  <c:v>98322</c:v>
                </c:pt>
                <c:pt idx="281">
                  <c:v>98330</c:v>
                </c:pt>
                <c:pt idx="282">
                  <c:v>98337</c:v>
                </c:pt>
                <c:pt idx="283">
                  <c:v>98367</c:v>
                </c:pt>
                <c:pt idx="284">
                  <c:v>98396</c:v>
                </c:pt>
                <c:pt idx="285">
                  <c:v>98434</c:v>
                </c:pt>
                <c:pt idx="286">
                  <c:v>98458</c:v>
                </c:pt>
                <c:pt idx="287">
                  <c:v>98506</c:v>
                </c:pt>
                <c:pt idx="288">
                  <c:v>98515</c:v>
                </c:pt>
                <c:pt idx="289">
                  <c:v>98522</c:v>
                </c:pt>
                <c:pt idx="290">
                  <c:v>98550</c:v>
                </c:pt>
                <c:pt idx="291">
                  <c:v>98596</c:v>
                </c:pt>
                <c:pt idx="292">
                  <c:v>98633</c:v>
                </c:pt>
                <c:pt idx="293">
                  <c:v>98661</c:v>
                </c:pt>
                <c:pt idx="294">
                  <c:v>98719</c:v>
                </c:pt>
                <c:pt idx="295">
                  <c:v>98736</c:v>
                </c:pt>
                <c:pt idx="296">
                  <c:v>98747</c:v>
                </c:pt>
                <c:pt idx="297">
                  <c:v>98805</c:v>
                </c:pt>
                <c:pt idx="298">
                  <c:v>98837</c:v>
                </c:pt>
                <c:pt idx="299">
                  <c:v>98896</c:v>
                </c:pt>
                <c:pt idx="300">
                  <c:v>98996</c:v>
                </c:pt>
                <c:pt idx="301">
                  <c:v>99140</c:v>
                </c:pt>
                <c:pt idx="302">
                  <c:v>99190</c:v>
                </c:pt>
                <c:pt idx="303">
                  <c:v>99224</c:v>
                </c:pt>
                <c:pt idx="304">
                  <c:v>99341</c:v>
                </c:pt>
                <c:pt idx="305">
                  <c:v>99498</c:v>
                </c:pt>
                <c:pt idx="306">
                  <c:v>99668</c:v>
                </c:pt>
                <c:pt idx="307">
                  <c:v>99708</c:v>
                </c:pt>
                <c:pt idx="308">
                  <c:v>99889</c:v>
                </c:pt>
                <c:pt idx="309">
                  <c:v>99939</c:v>
                </c:pt>
                <c:pt idx="310">
                  <c:v>99974</c:v>
                </c:pt>
                <c:pt idx="311">
                  <c:v>100178</c:v>
                </c:pt>
                <c:pt idx="312">
                  <c:v>100355</c:v>
                </c:pt>
                <c:pt idx="313">
                  <c:v>100547</c:v>
                </c:pt>
                <c:pt idx="314">
                  <c:v>100755</c:v>
                </c:pt>
                <c:pt idx="315">
                  <c:v>101006</c:v>
                </c:pt>
                <c:pt idx="316">
                  <c:v>101079</c:v>
                </c:pt>
                <c:pt idx="317">
                  <c:v>101122</c:v>
                </c:pt>
                <c:pt idx="318">
                  <c:v>101306</c:v>
                </c:pt>
                <c:pt idx="319">
                  <c:v>101456</c:v>
                </c:pt>
                <c:pt idx="320">
                  <c:v>101620</c:v>
                </c:pt>
                <c:pt idx="321">
                  <c:v>101808</c:v>
                </c:pt>
                <c:pt idx="322">
                  <c:v>102074</c:v>
                </c:pt>
                <c:pt idx="323">
                  <c:v>102128</c:v>
                </c:pt>
                <c:pt idx="324">
                  <c:v>102166</c:v>
                </c:pt>
                <c:pt idx="325">
                  <c:v>102349</c:v>
                </c:pt>
                <c:pt idx="326">
                  <c:v>102560</c:v>
                </c:pt>
                <c:pt idx="327">
                  <c:v>102599</c:v>
                </c:pt>
                <c:pt idx="328">
                  <c:v>102839</c:v>
                </c:pt>
                <c:pt idx="329">
                  <c:v>103118</c:v>
                </c:pt>
                <c:pt idx="330">
                  <c:v>103197</c:v>
                </c:pt>
                <c:pt idx="331">
                  <c:v>103261</c:v>
                </c:pt>
                <c:pt idx="332">
                  <c:v>103448</c:v>
                </c:pt>
                <c:pt idx="333">
                  <c:v>103641</c:v>
                </c:pt>
                <c:pt idx="334">
                  <c:v>103842</c:v>
                </c:pt>
                <c:pt idx="335">
                  <c:v>104053</c:v>
                </c:pt>
                <c:pt idx="336">
                  <c:v>104273</c:v>
                </c:pt>
                <c:pt idx="337">
                  <c:v>104351</c:v>
                </c:pt>
                <c:pt idx="338">
                  <c:v>104374</c:v>
                </c:pt>
                <c:pt idx="339">
                  <c:v>104544</c:v>
                </c:pt>
                <c:pt idx="340">
                  <c:v>104691</c:v>
                </c:pt>
                <c:pt idx="341">
                  <c:v>104852</c:v>
                </c:pt>
                <c:pt idx="342">
                  <c:v>104964</c:v>
                </c:pt>
                <c:pt idx="343">
                  <c:v>105083</c:v>
                </c:pt>
                <c:pt idx="344">
                  <c:v>105105</c:v>
                </c:pt>
                <c:pt idx="345">
                  <c:v>105112</c:v>
                </c:pt>
                <c:pt idx="346">
                  <c:v>105183</c:v>
                </c:pt>
                <c:pt idx="347">
                  <c:v>105260</c:v>
                </c:pt>
                <c:pt idx="348">
                  <c:v>105348</c:v>
                </c:pt>
                <c:pt idx="349">
                  <c:v>105422</c:v>
                </c:pt>
                <c:pt idx="350">
                  <c:v>105509</c:v>
                </c:pt>
                <c:pt idx="351">
                  <c:v>105527</c:v>
                </c:pt>
                <c:pt idx="352">
                  <c:v>105540</c:v>
                </c:pt>
                <c:pt idx="353">
                  <c:v>105616</c:v>
                </c:pt>
                <c:pt idx="354">
                  <c:v>105689</c:v>
                </c:pt>
                <c:pt idx="355">
                  <c:v>105735</c:v>
                </c:pt>
                <c:pt idx="356">
                  <c:v>105809</c:v>
                </c:pt>
                <c:pt idx="357">
                  <c:v>105899</c:v>
                </c:pt>
                <c:pt idx="358">
                  <c:v>105925</c:v>
                </c:pt>
                <c:pt idx="359">
                  <c:v>105934</c:v>
                </c:pt>
                <c:pt idx="360">
                  <c:v>105990</c:v>
                </c:pt>
                <c:pt idx="361">
                  <c:v>106048</c:v>
                </c:pt>
                <c:pt idx="362">
                  <c:v>106087</c:v>
                </c:pt>
                <c:pt idx="363">
                  <c:v>106097</c:v>
                </c:pt>
                <c:pt idx="364">
                  <c:v>106097</c:v>
                </c:pt>
                <c:pt idx="365">
                  <c:v>106125</c:v>
                </c:pt>
                <c:pt idx="366">
                  <c:v>106154</c:v>
                </c:pt>
                <c:pt idx="367">
                  <c:v>106180</c:v>
                </c:pt>
                <c:pt idx="368">
                  <c:v>106214</c:v>
                </c:pt>
                <c:pt idx="369">
                  <c:v>106217</c:v>
                </c:pt>
                <c:pt idx="370">
                  <c:v>106220</c:v>
                </c:pt>
                <c:pt idx="371">
                  <c:v>106251</c:v>
                </c:pt>
                <c:pt idx="372">
                  <c:v>106293</c:v>
                </c:pt>
                <c:pt idx="373">
                  <c:v>106327</c:v>
                </c:pt>
                <c:pt idx="374">
                  <c:v>106378</c:v>
                </c:pt>
                <c:pt idx="375">
                  <c:v>106455</c:v>
                </c:pt>
                <c:pt idx="376">
                  <c:v>106466</c:v>
                </c:pt>
                <c:pt idx="377">
                  <c:v>106478</c:v>
                </c:pt>
                <c:pt idx="378">
                  <c:v>106516</c:v>
                </c:pt>
                <c:pt idx="379">
                  <c:v>106555</c:v>
                </c:pt>
                <c:pt idx="380">
                  <c:v>106602</c:v>
                </c:pt>
                <c:pt idx="381">
                  <c:v>106651</c:v>
                </c:pt>
                <c:pt idx="382">
                  <c:v>106711</c:v>
                </c:pt>
                <c:pt idx="383">
                  <c:v>106731</c:v>
                </c:pt>
                <c:pt idx="384">
                  <c:v>106741</c:v>
                </c:pt>
                <c:pt idx="385">
                  <c:v>106780</c:v>
                </c:pt>
                <c:pt idx="386">
                  <c:v>106828</c:v>
                </c:pt>
                <c:pt idx="387">
                  <c:v>106855</c:v>
                </c:pt>
                <c:pt idx="388">
                  <c:v>106880</c:v>
                </c:pt>
                <c:pt idx="389">
                  <c:v>106930</c:v>
                </c:pt>
                <c:pt idx="390">
                  <c:v>106934</c:v>
                </c:pt>
                <c:pt idx="391">
                  <c:v>106939</c:v>
                </c:pt>
                <c:pt idx="392">
                  <c:v>106960</c:v>
                </c:pt>
                <c:pt idx="393">
                  <c:v>106979</c:v>
                </c:pt>
                <c:pt idx="394">
                  <c:v>107001</c:v>
                </c:pt>
                <c:pt idx="395">
                  <c:v>107018</c:v>
                </c:pt>
                <c:pt idx="396">
                  <c:v>107044</c:v>
                </c:pt>
                <c:pt idx="397">
                  <c:v>107050</c:v>
                </c:pt>
                <c:pt idx="398">
                  <c:v>107052</c:v>
                </c:pt>
                <c:pt idx="399">
                  <c:v>107059</c:v>
                </c:pt>
                <c:pt idx="400">
                  <c:v>107069</c:v>
                </c:pt>
                <c:pt idx="401">
                  <c:v>107080</c:v>
                </c:pt>
                <c:pt idx="402">
                  <c:v>107088</c:v>
                </c:pt>
                <c:pt idx="403">
                  <c:v>107100</c:v>
                </c:pt>
                <c:pt idx="404">
                  <c:v>107101</c:v>
                </c:pt>
                <c:pt idx="405">
                  <c:v>107102</c:v>
                </c:pt>
                <c:pt idx="406">
                  <c:v>107109</c:v>
                </c:pt>
                <c:pt idx="407">
                  <c:v>107116</c:v>
                </c:pt>
                <c:pt idx="408">
                  <c:v>107121</c:v>
                </c:pt>
                <c:pt idx="409">
                  <c:v>107126</c:v>
                </c:pt>
                <c:pt idx="410">
                  <c:v>107140</c:v>
                </c:pt>
                <c:pt idx="411">
                  <c:v>107141</c:v>
                </c:pt>
                <c:pt idx="412">
                  <c:v>107143</c:v>
                </c:pt>
                <c:pt idx="413">
                  <c:v>107149</c:v>
                </c:pt>
                <c:pt idx="414">
                  <c:v>107154</c:v>
                </c:pt>
                <c:pt idx="415">
                  <c:v>107155</c:v>
                </c:pt>
                <c:pt idx="416">
                  <c:v>107156</c:v>
                </c:pt>
                <c:pt idx="417">
                  <c:v>107158</c:v>
                </c:pt>
                <c:pt idx="418">
                  <c:v>107161</c:v>
                </c:pt>
                <c:pt idx="419">
                  <c:v>107163</c:v>
                </c:pt>
                <c:pt idx="420">
                  <c:v>107163</c:v>
                </c:pt>
                <c:pt idx="421">
                  <c:v>107163</c:v>
                </c:pt>
                <c:pt idx="422">
                  <c:v>107166</c:v>
                </c:pt>
                <c:pt idx="423">
                  <c:v>107167</c:v>
                </c:pt>
                <c:pt idx="424">
                  <c:v>107170</c:v>
                </c:pt>
                <c:pt idx="425">
                  <c:v>107171</c:v>
                </c:pt>
                <c:pt idx="426">
                  <c:v>107171</c:v>
                </c:pt>
                <c:pt idx="427">
                  <c:v>10718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39B2-46E3-85FE-A83BCF6CC085}"/>
            </c:ext>
          </c:extLst>
        </c:ser>
        <c:ser>
          <c:idx val="3"/>
          <c:order val="3"/>
          <c:tx>
            <c:strRef>
              <c:f>List1!$A$5</c:f>
              <c:strCache>
                <c:ptCount val="1"/>
                <c:pt idx="0">
                  <c:v>Lékaři</c:v>
                </c:pt>
              </c:strCache>
            </c:strRef>
          </c:tx>
          <c:spPr>
            <a:ln w="28575" cap="rnd">
              <a:solidFill>
                <a:srgbClr val="4472C4"/>
              </a:solidFill>
              <a:round/>
            </a:ln>
            <a:effectLst/>
          </c:spPr>
          <c:marker>
            <c:symbol val="none"/>
          </c:marker>
          <c:cat>
            <c:strRef>
              <c:f>List1!$G$1:$PR$1</c:f>
              <c:strCache>
                <c:ptCount val="428"/>
                <c:pt idx="0">
                  <c:v>25-XII.20</c:v>
                </c:pt>
                <c:pt idx="1">
                  <c:v>26-XII.20</c:v>
                </c:pt>
                <c:pt idx="2">
                  <c:v>27.XII.20</c:v>
                </c:pt>
                <c:pt idx="3">
                  <c:v>28.XII.20</c:v>
                </c:pt>
                <c:pt idx="4">
                  <c:v>29.XII.20</c:v>
                </c:pt>
                <c:pt idx="5">
                  <c:v>30.XII.20</c:v>
                </c:pt>
                <c:pt idx="6">
                  <c:v>31.XII.20</c:v>
                </c:pt>
                <c:pt idx="7">
                  <c:v>1.I.21</c:v>
                </c:pt>
                <c:pt idx="8">
                  <c:v>2.I.21</c:v>
                </c:pt>
                <c:pt idx="9">
                  <c:v>3.I.21</c:v>
                </c:pt>
                <c:pt idx="10">
                  <c:v>4.I.21</c:v>
                </c:pt>
                <c:pt idx="11">
                  <c:v>5.I.21</c:v>
                </c:pt>
                <c:pt idx="12">
                  <c:v>6.I.21</c:v>
                </c:pt>
                <c:pt idx="13">
                  <c:v>7.I.21</c:v>
                </c:pt>
                <c:pt idx="14">
                  <c:v>8.I.21</c:v>
                </c:pt>
                <c:pt idx="15">
                  <c:v>9.I.21</c:v>
                </c:pt>
                <c:pt idx="16">
                  <c:v>10.I.21</c:v>
                </c:pt>
                <c:pt idx="17">
                  <c:v>11.I.21</c:v>
                </c:pt>
                <c:pt idx="18">
                  <c:v>12.I.21</c:v>
                </c:pt>
                <c:pt idx="19">
                  <c:v>13.I.21</c:v>
                </c:pt>
                <c:pt idx="20">
                  <c:v>14.I.21</c:v>
                </c:pt>
                <c:pt idx="21">
                  <c:v>15.I.21</c:v>
                </c:pt>
                <c:pt idx="22">
                  <c:v>16.I.21</c:v>
                </c:pt>
                <c:pt idx="23">
                  <c:v>17.I.21</c:v>
                </c:pt>
                <c:pt idx="24">
                  <c:v>18.I.21</c:v>
                </c:pt>
                <c:pt idx="25">
                  <c:v>19.I.21</c:v>
                </c:pt>
                <c:pt idx="26">
                  <c:v>20.I.21</c:v>
                </c:pt>
                <c:pt idx="27">
                  <c:v>21.I.21</c:v>
                </c:pt>
                <c:pt idx="28">
                  <c:v>22.I.21</c:v>
                </c:pt>
                <c:pt idx="29">
                  <c:v>23.I.21</c:v>
                </c:pt>
                <c:pt idx="30">
                  <c:v>24.I.21</c:v>
                </c:pt>
                <c:pt idx="31">
                  <c:v>25.I.21</c:v>
                </c:pt>
                <c:pt idx="32">
                  <c:v>26.I.21</c:v>
                </c:pt>
                <c:pt idx="33">
                  <c:v>27.I.21</c:v>
                </c:pt>
                <c:pt idx="34">
                  <c:v>28.I.21</c:v>
                </c:pt>
                <c:pt idx="35">
                  <c:v>29.I.21</c:v>
                </c:pt>
                <c:pt idx="36">
                  <c:v>30.I.21</c:v>
                </c:pt>
                <c:pt idx="37">
                  <c:v>31.I.21</c:v>
                </c:pt>
                <c:pt idx="38">
                  <c:v>1.II.21</c:v>
                </c:pt>
                <c:pt idx="39">
                  <c:v>2.II.21</c:v>
                </c:pt>
                <c:pt idx="40">
                  <c:v>3.II.21</c:v>
                </c:pt>
                <c:pt idx="41">
                  <c:v>4.II.21</c:v>
                </c:pt>
                <c:pt idx="42">
                  <c:v>5.II.21</c:v>
                </c:pt>
                <c:pt idx="43">
                  <c:v>6.II.21</c:v>
                </c:pt>
                <c:pt idx="44">
                  <c:v>7.II.21</c:v>
                </c:pt>
                <c:pt idx="45">
                  <c:v>8.II.21</c:v>
                </c:pt>
                <c:pt idx="46">
                  <c:v>9.II.21</c:v>
                </c:pt>
                <c:pt idx="47">
                  <c:v>10.II.21</c:v>
                </c:pt>
                <c:pt idx="48">
                  <c:v>11.II.21</c:v>
                </c:pt>
                <c:pt idx="49">
                  <c:v>12.II.21</c:v>
                </c:pt>
                <c:pt idx="50">
                  <c:v>13.II.21</c:v>
                </c:pt>
                <c:pt idx="51">
                  <c:v>14.II.21</c:v>
                </c:pt>
                <c:pt idx="52">
                  <c:v>15.II.21</c:v>
                </c:pt>
                <c:pt idx="53">
                  <c:v>16.II.21</c:v>
                </c:pt>
                <c:pt idx="54">
                  <c:v>17.II.21</c:v>
                </c:pt>
                <c:pt idx="55">
                  <c:v>18.II.21</c:v>
                </c:pt>
                <c:pt idx="56">
                  <c:v>19.II.21</c:v>
                </c:pt>
                <c:pt idx="57">
                  <c:v>20.II.21</c:v>
                </c:pt>
                <c:pt idx="58">
                  <c:v>21.II.21</c:v>
                </c:pt>
                <c:pt idx="59">
                  <c:v>22.II.21</c:v>
                </c:pt>
                <c:pt idx="60">
                  <c:v>23.II.21</c:v>
                </c:pt>
                <c:pt idx="61">
                  <c:v>24.II.21</c:v>
                </c:pt>
                <c:pt idx="62">
                  <c:v>25.II.21</c:v>
                </c:pt>
                <c:pt idx="63">
                  <c:v>26.II.21</c:v>
                </c:pt>
                <c:pt idx="64">
                  <c:v>27.II.21</c:v>
                </c:pt>
                <c:pt idx="65">
                  <c:v>28.II.21</c:v>
                </c:pt>
                <c:pt idx="66">
                  <c:v>1.III.21</c:v>
                </c:pt>
                <c:pt idx="67">
                  <c:v>2.III.21</c:v>
                </c:pt>
                <c:pt idx="68">
                  <c:v>3.III.21</c:v>
                </c:pt>
                <c:pt idx="69">
                  <c:v>4.III.21</c:v>
                </c:pt>
                <c:pt idx="70">
                  <c:v>5.III.21</c:v>
                </c:pt>
                <c:pt idx="71">
                  <c:v>6.III.21</c:v>
                </c:pt>
                <c:pt idx="72">
                  <c:v>7.III.21</c:v>
                </c:pt>
                <c:pt idx="73">
                  <c:v>8.III.21</c:v>
                </c:pt>
                <c:pt idx="74">
                  <c:v>9.III.21</c:v>
                </c:pt>
                <c:pt idx="75">
                  <c:v>10.III.21</c:v>
                </c:pt>
                <c:pt idx="76">
                  <c:v>11.III.21</c:v>
                </c:pt>
                <c:pt idx="77">
                  <c:v>12.III.21</c:v>
                </c:pt>
                <c:pt idx="78">
                  <c:v>13.III.21</c:v>
                </c:pt>
                <c:pt idx="79">
                  <c:v>14.III.21</c:v>
                </c:pt>
                <c:pt idx="80">
                  <c:v>15.III.21</c:v>
                </c:pt>
                <c:pt idx="81">
                  <c:v>16.III.21</c:v>
                </c:pt>
                <c:pt idx="82">
                  <c:v>17.III.21</c:v>
                </c:pt>
                <c:pt idx="83">
                  <c:v>18.III.21</c:v>
                </c:pt>
                <c:pt idx="84">
                  <c:v>19.III.21</c:v>
                </c:pt>
                <c:pt idx="85">
                  <c:v>20.III.21</c:v>
                </c:pt>
                <c:pt idx="86">
                  <c:v>21.III.21</c:v>
                </c:pt>
                <c:pt idx="87">
                  <c:v>22.III.21</c:v>
                </c:pt>
                <c:pt idx="88">
                  <c:v>23.III.21</c:v>
                </c:pt>
                <c:pt idx="89">
                  <c:v>24.III.21</c:v>
                </c:pt>
                <c:pt idx="90">
                  <c:v>25.III.21</c:v>
                </c:pt>
                <c:pt idx="91">
                  <c:v>26.III.21</c:v>
                </c:pt>
                <c:pt idx="92">
                  <c:v>27.III.21</c:v>
                </c:pt>
                <c:pt idx="93">
                  <c:v>28.III.21</c:v>
                </c:pt>
                <c:pt idx="94">
                  <c:v>29.III.21</c:v>
                </c:pt>
                <c:pt idx="95">
                  <c:v>30.III.21</c:v>
                </c:pt>
                <c:pt idx="96">
                  <c:v>31.III.21</c:v>
                </c:pt>
                <c:pt idx="97">
                  <c:v>1.IV.21</c:v>
                </c:pt>
                <c:pt idx="98">
                  <c:v>2.IV.21</c:v>
                </c:pt>
                <c:pt idx="99">
                  <c:v>3.IV.21</c:v>
                </c:pt>
                <c:pt idx="100">
                  <c:v>4.IV.21</c:v>
                </c:pt>
                <c:pt idx="101">
                  <c:v>5.IV.21</c:v>
                </c:pt>
                <c:pt idx="102">
                  <c:v>6.IV.21</c:v>
                </c:pt>
                <c:pt idx="103">
                  <c:v>7.IV.21</c:v>
                </c:pt>
                <c:pt idx="104">
                  <c:v>8.IV.21</c:v>
                </c:pt>
                <c:pt idx="105">
                  <c:v>9.IV.21</c:v>
                </c:pt>
                <c:pt idx="106">
                  <c:v>10.IV.21</c:v>
                </c:pt>
                <c:pt idx="107">
                  <c:v>11.IV.21</c:v>
                </c:pt>
                <c:pt idx="108">
                  <c:v>12.IV.21</c:v>
                </c:pt>
                <c:pt idx="109">
                  <c:v>13.IV.21</c:v>
                </c:pt>
                <c:pt idx="110">
                  <c:v>14.IV.21</c:v>
                </c:pt>
                <c:pt idx="111">
                  <c:v>15.IV.21</c:v>
                </c:pt>
                <c:pt idx="112">
                  <c:v>16.IV.21</c:v>
                </c:pt>
                <c:pt idx="113">
                  <c:v>17.IV.21</c:v>
                </c:pt>
                <c:pt idx="114">
                  <c:v>18.IV.21</c:v>
                </c:pt>
                <c:pt idx="115">
                  <c:v>19.IV.21</c:v>
                </c:pt>
                <c:pt idx="116">
                  <c:v>20.IV.21</c:v>
                </c:pt>
                <c:pt idx="117">
                  <c:v>21.IV.21</c:v>
                </c:pt>
                <c:pt idx="118">
                  <c:v>22.IV.21</c:v>
                </c:pt>
                <c:pt idx="119">
                  <c:v>23.IV.21</c:v>
                </c:pt>
                <c:pt idx="120">
                  <c:v>24.IV.21</c:v>
                </c:pt>
                <c:pt idx="121">
                  <c:v>25.IV.21</c:v>
                </c:pt>
                <c:pt idx="122">
                  <c:v>26.IV.21</c:v>
                </c:pt>
                <c:pt idx="123">
                  <c:v>27.IV.21</c:v>
                </c:pt>
                <c:pt idx="124">
                  <c:v>28.IV.21</c:v>
                </c:pt>
                <c:pt idx="125">
                  <c:v>29.IV.21</c:v>
                </c:pt>
                <c:pt idx="126">
                  <c:v>30.IV.21</c:v>
                </c:pt>
                <c:pt idx="127">
                  <c:v>1.V.21</c:v>
                </c:pt>
                <c:pt idx="128">
                  <c:v>2.V.21</c:v>
                </c:pt>
                <c:pt idx="129">
                  <c:v>3.V.21</c:v>
                </c:pt>
                <c:pt idx="130">
                  <c:v>4.V.21</c:v>
                </c:pt>
                <c:pt idx="131">
                  <c:v>5.V.21</c:v>
                </c:pt>
                <c:pt idx="132">
                  <c:v>6.V.21</c:v>
                </c:pt>
                <c:pt idx="133">
                  <c:v>7.V.21</c:v>
                </c:pt>
                <c:pt idx="134">
                  <c:v>8.V.21</c:v>
                </c:pt>
                <c:pt idx="135">
                  <c:v>9.V.21</c:v>
                </c:pt>
                <c:pt idx="136">
                  <c:v>10.V.21</c:v>
                </c:pt>
                <c:pt idx="137">
                  <c:v>11.V.21</c:v>
                </c:pt>
                <c:pt idx="138">
                  <c:v>12.V.21</c:v>
                </c:pt>
                <c:pt idx="139">
                  <c:v>13.V.21</c:v>
                </c:pt>
                <c:pt idx="140">
                  <c:v>14.V.21</c:v>
                </c:pt>
                <c:pt idx="141">
                  <c:v>15.V.21</c:v>
                </c:pt>
                <c:pt idx="142">
                  <c:v>16.V.21</c:v>
                </c:pt>
                <c:pt idx="143">
                  <c:v>17.V.21</c:v>
                </c:pt>
                <c:pt idx="144">
                  <c:v>18.V.21</c:v>
                </c:pt>
                <c:pt idx="145">
                  <c:v>19.V.21</c:v>
                </c:pt>
                <c:pt idx="146">
                  <c:v>20.V.21</c:v>
                </c:pt>
                <c:pt idx="147">
                  <c:v>21.V.21</c:v>
                </c:pt>
                <c:pt idx="148">
                  <c:v>22.V.21</c:v>
                </c:pt>
                <c:pt idx="149">
                  <c:v>23.V.21</c:v>
                </c:pt>
                <c:pt idx="150">
                  <c:v>24.V.21</c:v>
                </c:pt>
                <c:pt idx="151">
                  <c:v>25.V.21</c:v>
                </c:pt>
                <c:pt idx="152">
                  <c:v>26.V.21</c:v>
                </c:pt>
                <c:pt idx="153">
                  <c:v>27.V.21</c:v>
                </c:pt>
                <c:pt idx="154">
                  <c:v>28.V.21</c:v>
                </c:pt>
                <c:pt idx="155">
                  <c:v>29.V.21</c:v>
                </c:pt>
                <c:pt idx="156">
                  <c:v>30.V.21</c:v>
                </c:pt>
                <c:pt idx="157">
                  <c:v>31.V.21</c:v>
                </c:pt>
                <c:pt idx="158">
                  <c:v>1.VI.21</c:v>
                </c:pt>
                <c:pt idx="159">
                  <c:v>2.VI.21</c:v>
                </c:pt>
                <c:pt idx="160">
                  <c:v>3.VI.21</c:v>
                </c:pt>
                <c:pt idx="161">
                  <c:v>4.VI.21</c:v>
                </c:pt>
                <c:pt idx="162">
                  <c:v>5.VI.21</c:v>
                </c:pt>
                <c:pt idx="163">
                  <c:v>6.VI.21</c:v>
                </c:pt>
                <c:pt idx="164">
                  <c:v>7.VI.21</c:v>
                </c:pt>
                <c:pt idx="165">
                  <c:v>8.VI.21</c:v>
                </c:pt>
                <c:pt idx="166">
                  <c:v>9.VI.21</c:v>
                </c:pt>
                <c:pt idx="167">
                  <c:v>10.VI.21</c:v>
                </c:pt>
                <c:pt idx="168">
                  <c:v>11.VI.21</c:v>
                </c:pt>
                <c:pt idx="169">
                  <c:v>12.VI.21</c:v>
                </c:pt>
                <c:pt idx="170">
                  <c:v>13.VI.21</c:v>
                </c:pt>
                <c:pt idx="171">
                  <c:v>14.VI.21</c:v>
                </c:pt>
                <c:pt idx="172">
                  <c:v>15.VI.21</c:v>
                </c:pt>
                <c:pt idx="173">
                  <c:v>16.VI.21</c:v>
                </c:pt>
                <c:pt idx="174">
                  <c:v>17.VI.21</c:v>
                </c:pt>
                <c:pt idx="175">
                  <c:v>18.VI.21</c:v>
                </c:pt>
                <c:pt idx="176">
                  <c:v>19.VI.21</c:v>
                </c:pt>
                <c:pt idx="177">
                  <c:v>20.VI.21</c:v>
                </c:pt>
                <c:pt idx="178">
                  <c:v>21.VI.21</c:v>
                </c:pt>
                <c:pt idx="179">
                  <c:v>22.VI.21</c:v>
                </c:pt>
                <c:pt idx="180">
                  <c:v>23.VI.21</c:v>
                </c:pt>
                <c:pt idx="181">
                  <c:v>24.VI.21</c:v>
                </c:pt>
                <c:pt idx="182">
                  <c:v>25.VI.21</c:v>
                </c:pt>
                <c:pt idx="183">
                  <c:v>26.VI.21</c:v>
                </c:pt>
                <c:pt idx="184">
                  <c:v>27.VI.21</c:v>
                </c:pt>
                <c:pt idx="185">
                  <c:v>28.VI.21</c:v>
                </c:pt>
                <c:pt idx="186">
                  <c:v>29.VI.21</c:v>
                </c:pt>
                <c:pt idx="187">
                  <c:v>30.VI.21</c:v>
                </c:pt>
                <c:pt idx="188">
                  <c:v>1.VII.21</c:v>
                </c:pt>
                <c:pt idx="189">
                  <c:v>2.VII.21</c:v>
                </c:pt>
                <c:pt idx="190">
                  <c:v>3.VII.21</c:v>
                </c:pt>
                <c:pt idx="191">
                  <c:v>4.VII.21</c:v>
                </c:pt>
                <c:pt idx="192">
                  <c:v>5.VII.21</c:v>
                </c:pt>
                <c:pt idx="193">
                  <c:v>6.VII.21</c:v>
                </c:pt>
                <c:pt idx="194">
                  <c:v>7.VII.21</c:v>
                </c:pt>
                <c:pt idx="195">
                  <c:v>8.VII.21</c:v>
                </c:pt>
                <c:pt idx="196">
                  <c:v>9.VII.21</c:v>
                </c:pt>
                <c:pt idx="197">
                  <c:v>10.VII.21</c:v>
                </c:pt>
                <c:pt idx="198">
                  <c:v>11.VII.21</c:v>
                </c:pt>
                <c:pt idx="199">
                  <c:v>12.VII.21</c:v>
                </c:pt>
                <c:pt idx="200">
                  <c:v>13.VII.21</c:v>
                </c:pt>
                <c:pt idx="201">
                  <c:v>14.VII.21</c:v>
                </c:pt>
                <c:pt idx="202">
                  <c:v>15.VII.21</c:v>
                </c:pt>
                <c:pt idx="203">
                  <c:v>16.VII.21</c:v>
                </c:pt>
                <c:pt idx="204">
                  <c:v>17.VII.21</c:v>
                </c:pt>
                <c:pt idx="205">
                  <c:v>18.VII.21</c:v>
                </c:pt>
                <c:pt idx="206">
                  <c:v>19.VII.21</c:v>
                </c:pt>
                <c:pt idx="207">
                  <c:v>20.VII.21</c:v>
                </c:pt>
                <c:pt idx="208">
                  <c:v>21.VII.21</c:v>
                </c:pt>
                <c:pt idx="209">
                  <c:v>22.VII.21</c:v>
                </c:pt>
                <c:pt idx="210">
                  <c:v>23.VII.21</c:v>
                </c:pt>
                <c:pt idx="211">
                  <c:v>24.VII.21</c:v>
                </c:pt>
                <c:pt idx="212">
                  <c:v>25.VII.21</c:v>
                </c:pt>
                <c:pt idx="213">
                  <c:v>26.VII.21</c:v>
                </c:pt>
                <c:pt idx="214">
                  <c:v>27.VII.21</c:v>
                </c:pt>
                <c:pt idx="215">
                  <c:v>28.VII.21</c:v>
                </c:pt>
                <c:pt idx="216">
                  <c:v>29.VII.21</c:v>
                </c:pt>
                <c:pt idx="217">
                  <c:v>30.VII.21</c:v>
                </c:pt>
                <c:pt idx="218">
                  <c:v>31.VII.21</c:v>
                </c:pt>
                <c:pt idx="219">
                  <c:v>1.VIII.21</c:v>
                </c:pt>
                <c:pt idx="220">
                  <c:v>2.VIII.21</c:v>
                </c:pt>
                <c:pt idx="221">
                  <c:v>3.VIII.21</c:v>
                </c:pt>
                <c:pt idx="222">
                  <c:v>4.VIII.21</c:v>
                </c:pt>
                <c:pt idx="223">
                  <c:v>5.VIII.21</c:v>
                </c:pt>
                <c:pt idx="224">
                  <c:v>6.VIII.21</c:v>
                </c:pt>
                <c:pt idx="225">
                  <c:v>7.VIII.21</c:v>
                </c:pt>
                <c:pt idx="226">
                  <c:v>8.VIII.21</c:v>
                </c:pt>
                <c:pt idx="227">
                  <c:v>9.VIII.21</c:v>
                </c:pt>
                <c:pt idx="228">
                  <c:v>10.VIII.21</c:v>
                </c:pt>
                <c:pt idx="229">
                  <c:v>11.VIII.21</c:v>
                </c:pt>
                <c:pt idx="230">
                  <c:v>12.VIII.21</c:v>
                </c:pt>
                <c:pt idx="231">
                  <c:v>13.VIII.21</c:v>
                </c:pt>
                <c:pt idx="232">
                  <c:v>14.VIII.21</c:v>
                </c:pt>
                <c:pt idx="233">
                  <c:v>15.VIII.21</c:v>
                </c:pt>
                <c:pt idx="234">
                  <c:v>16.VIII.21</c:v>
                </c:pt>
                <c:pt idx="235">
                  <c:v>17.VIII.21</c:v>
                </c:pt>
                <c:pt idx="236">
                  <c:v>18.VIII.21</c:v>
                </c:pt>
                <c:pt idx="237">
                  <c:v>19.VIII.21</c:v>
                </c:pt>
                <c:pt idx="238">
                  <c:v>20.VIII.21</c:v>
                </c:pt>
                <c:pt idx="239">
                  <c:v>21.VIII.21</c:v>
                </c:pt>
                <c:pt idx="240">
                  <c:v>22.VIII.21</c:v>
                </c:pt>
                <c:pt idx="241">
                  <c:v>23.VIII.21</c:v>
                </c:pt>
                <c:pt idx="242">
                  <c:v>24.VIII.21</c:v>
                </c:pt>
                <c:pt idx="243">
                  <c:v>25.VIII.21</c:v>
                </c:pt>
                <c:pt idx="244">
                  <c:v>26.VIII.21</c:v>
                </c:pt>
                <c:pt idx="245">
                  <c:v>27.VIII.21</c:v>
                </c:pt>
                <c:pt idx="246">
                  <c:v>28.VIII.21</c:v>
                </c:pt>
                <c:pt idx="247">
                  <c:v>29.VIII.21</c:v>
                </c:pt>
                <c:pt idx="248">
                  <c:v>30.VIII.21</c:v>
                </c:pt>
                <c:pt idx="249">
                  <c:v>31.VIII.21</c:v>
                </c:pt>
                <c:pt idx="250">
                  <c:v>1.IX.21</c:v>
                </c:pt>
                <c:pt idx="251">
                  <c:v>2.IX.21</c:v>
                </c:pt>
                <c:pt idx="252">
                  <c:v>3.IX.21</c:v>
                </c:pt>
                <c:pt idx="253">
                  <c:v>4.IX.21</c:v>
                </c:pt>
                <c:pt idx="254">
                  <c:v>5.IX.21</c:v>
                </c:pt>
                <c:pt idx="255">
                  <c:v>6.IX.21</c:v>
                </c:pt>
                <c:pt idx="256">
                  <c:v>7.IX.21</c:v>
                </c:pt>
                <c:pt idx="257">
                  <c:v>8.IX.21</c:v>
                </c:pt>
                <c:pt idx="258">
                  <c:v>9.IX.21</c:v>
                </c:pt>
                <c:pt idx="259">
                  <c:v>10.IX.21</c:v>
                </c:pt>
                <c:pt idx="260">
                  <c:v>11.IX.21</c:v>
                </c:pt>
                <c:pt idx="261">
                  <c:v>12.IX.21</c:v>
                </c:pt>
                <c:pt idx="262">
                  <c:v>13.IX.21</c:v>
                </c:pt>
                <c:pt idx="263">
                  <c:v>14.IX.21</c:v>
                </c:pt>
                <c:pt idx="264">
                  <c:v>15.IX.21</c:v>
                </c:pt>
                <c:pt idx="265">
                  <c:v>16.IX.21</c:v>
                </c:pt>
                <c:pt idx="266">
                  <c:v>17.IX.21</c:v>
                </c:pt>
                <c:pt idx="267">
                  <c:v>18.IX.21</c:v>
                </c:pt>
                <c:pt idx="268">
                  <c:v>19.IX.21</c:v>
                </c:pt>
                <c:pt idx="269">
                  <c:v>20.IX.21</c:v>
                </c:pt>
                <c:pt idx="270">
                  <c:v>21.IX.21</c:v>
                </c:pt>
                <c:pt idx="271">
                  <c:v>22.IX.21</c:v>
                </c:pt>
                <c:pt idx="272">
                  <c:v>23.IX.21</c:v>
                </c:pt>
                <c:pt idx="273">
                  <c:v>24.IX.21</c:v>
                </c:pt>
                <c:pt idx="274">
                  <c:v>25.IX.21</c:v>
                </c:pt>
                <c:pt idx="275">
                  <c:v>26.IX.21</c:v>
                </c:pt>
                <c:pt idx="276">
                  <c:v>27.IX.21</c:v>
                </c:pt>
                <c:pt idx="277">
                  <c:v>28.IX.21</c:v>
                </c:pt>
                <c:pt idx="278">
                  <c:v>29.IX.21</c:v>
                </c:pt>
                <c:pt idx="279">
                  <c:v>30.IX.21</c:v>
                </c:pt>
                <c:pt idx="280">
                  <c:v>1.X.21</c:v>
                </c:pt>
                <c:pt idx="281">
                  <c:v>2.X.21</c:v>
                </c:pt>
                <c:pt idx="282">
                  <c:v>3.X.21</c:v>
                </c:pt>
                <c:pt idx="283">
                  <c:v>4.X.21</c:v>
                </c:pt>
                <c:pt idx="284">
                  <c:v>5.X.21</c:v>
                </c:pt>
                <c:pt idx="285">
                  <c:v>6.X.21</c:v>
                </c:pt>
                <c:pt idx="286">
                  <c:v>7.X.21</c:v>
                </c:pt>
                <c:pt idx="287">
                  <c:v>8.X.21</c:v>
                </c:pt>
                <c:pt idx="288">
                  <c:v>9.X.21</c:v>
                </c:pt>
                <c:pt idx="289">
                  <c:v>10.X.21</c:v>
                </c:pt>
                <c:pt idx="290">
                  <c:v>11.X.21</c:v>
                </c:pt>
                <c:pt idx="291">
                  <c:v>12.X.21</c:v>
                </c:pt>
                <c:pt idx="292">
                  <c:v>13.X.21</c:v>
                </c:pt>
                <c:pt idx="293">
                  <c:v>14.X.21</c:v>
                </c:pt>
                <c:pt idx="294">
                  <c:v>15.X.21</c:v>
                </c:pt>
                <c:pt idx="295">
                  <c:v>16.X.21</c:v>
                </c:pt>
                <c:pt idx="296">
                  <c:v>17.X.21</c:v>
                </c:pt>
                <c:pt idx="297">
                  <c:v>18.X.21</c:v>
                </c:pt>
                <c:pt idx="298">
                  <c:v>19.X.21</c:v>
                </c:pt>
                <c:pt idx="299">
                  <c:v>20.X.21</c:v>
                </c:pt>
                <c:pt idx="300">
                  <c:v>21.X.21</c:v>
                </c:pt>
                <c:pt idx="301">
                  <c:v>22.X.21</c:v>
                </c:pt>
                <c:pt idx="302">
                  <c:v>23.X.21</c:v>
                </c:pt>
                <c:pt idx="303">
                  <c:v>24.X.21</c:v>
                </c:pt>
                <c:pt idx="304">
                  <c:v>25.X.21</c:v>
                </c:pt>
                <c:pt idx="305">
                  <c:v>26.X.21</c:v>
                </c:pt>
                <c:pt idx="306">
                  <c:v>27.X.21</c:v>
                </c:pt>
                <c:pt idx="307">
                  <c:v>28.X.21</c:v>
                </c:pt>
                <c:pt idx="308">
                  <c:v>29.X.21</c:v>
                </c:pt>
                <c:pt idx="309">
                  <c:v>30.X.21</c:v>
                </c:pt>
                <c:pt idx="310">
                  <c:v>31.X.21</c:v>
                </c:pt>
                <c:pt idx="311">
                  <c:v>1.XI.21</c:v>
                </c:pt>
                <c:pt idx="312">
                  <c:v>2.XI.21</c:v>
                </c:pt>
                <c:pt idx="313">
                  <c:v>3.XI.21</c:v>
                </c:pt>
                <c:pt idx="314">
                  <c:v>4.XI.21</c:v>
                </c:pt>
                <c:pt idx="315">
                  <c:v>5.XI.21</c:v>
                </c:pt>
                <c:pt idx="316">
                  <c:v>6.XI.21</c:v>
                </c:pt>
                <c:pt idx="317">
                  <c:v>7.XI.21</c:v>
                </c:pt>
                <c:pt idx="318">
                  <c:v>8.XI.21</c:v>
                </c:pt>
                <c:pt idx="319">
                  <c:v>9.XI.21</c:v>
                </c:pt>
                <c:pt idx="320">
                  <c:v>10.XI.21</c:v>
                </c:pt>
                <c:pt idx="321">
                  <c:v>11.XI.21</c:v>
                </c:pt>
                <c:pt idx="322">
                  <c:v>12.XI.21</c:v>
                </c:pt>
                <c:pt idx="323">
                  <c:v>13.XI.21</c:v>
                </c:pt>
                <c:pt idx="324">
                  <c:v>14.XI.21</c:v>
                </c:pt>
                <c:pt idx="325">
                  <c:v>15.XI.21</c:v>
                </c:pt>
                <c:pt idx="326">
                  <c:v>16.XI.21</c:v>
                </c:pt>
                <c:pt idx="327">
                  <c:v>17.XI.21</c:v>
                </c:pt>
                <c:pt idx="328">
                  <c:v>18.XI.21</c:v>
                </c:pt>
                <c:pt idx="329">
                  <c:v>19.XI.21</c:v>
                </c:pt>
                <c:pt idx="330">
                  <c:v>20.XI.21</c:v>
                </c:pt>
                <c:pt idx="331">
                  <c:v>21.XI.21</c:v>
                </c:pt>
                <c:pt idx="332">
                  <c:v>22.XI.21</c:v>
                </c:pt>
                <c:pt idx="333">
                  <c:v>23.XI.21</c:v>
                </c:pt>
                <c:pt idx="334">
                  <c:v>24.XI.21</c:v>
                </c:pt>
                <c:pt idx="335">
                  <c:v>25.XI.21</c:v>
                </c:pt>
                <c:pt idx="336">
                  <c:v>26.XI.21</c:v>
                </c:pt>
                <c:pt idx="337">
                  <c:v>27.XI.21</c:v>
                </c:pt>
                <c:pt idx="338">
                  <c:v>28.XI.21</c:v>
                </c:pt>
                <c:pt idx="339">
                  <c:v>29.XI.21</c:v>
                </c:pt>
                <c:pt idx="340">
                  <c:v>30.XI.21</c:v>
                </c:pt>
                <c:pt idx="341">
                  <c:v>1.XII.21</c:v>
                </c:pt>
                <c:pt idx="342">
                  <c:v>2.XII.21</c:v>
                </c:pt>
                <c:pt idx="343">
                  <c:v>3.XII.21</c:v>
                </c:pt>
                <c:pt idx="344">
                  <c:v>4.XII.21</c:v>
                </c:pt>
                <c:pt idx="345">
                  <c:v>5.XII.21</c:v>
                </c:pt>
                <c:pt idx="346">
                  <c:v>6.XII.21</c:v>
                </c:pt>
                <c:pt idx="347">
                  <c:v>7.XII.21</c:v>
                </c:pt>
                <c:pt idx="348">
                  <c:v>8.XII.21</c:v>
                </c:pt>
                <c:pt idx="349">
                  <c:v>9.XII.21</c:v>
                </c:pt>
                <c:pt idx="350">
                  <c:v>10.XII.21</c:v>
                </c:pt>
                <c:pt idx="351">
                  <c:v>11.XII.21</c:v>
                </c:pt>
                <c:pt idx="352">
                  <c:v>12.XII.21</c:v>
                </c:pt>
                <c:pt idx="353">
                  <c:v>13.XII.21</c:v>
                </c:pt>
                <c:pt idx="354">
                  <c:v>14.XII.21</c:v>
                </c:pt>
                <c:pt idx="355">
                  <c:v>15.XII.21</c:v>
                </c:pt>
                <c:pt idx="356">
                  <c:v>16.XII.21</c:v>
                </c:pt>
                <c:pt idx="357">
                  <c:v>17.XII.21</c:v>
                </c:pt>
                <c:pt idx="358">
                  <c:v>18.XII.21</c:v>
                </c:pt>
                <c:pt idx="359">
                  <c:v>19.XII.21</c:v>
                </c:pt>
                <c:pt idx="360">
                  <c:v>20.XII.21</c:v>
                </c:pt>
                <c:pt idx="361">
                  <c:v>21.XII.21</c:v>
                </c:pt>
                <c:pt idx="362">
                  <c:v>22.XII.21</c:v>
                </c:pt>
                <c:pt idx="363">
                  <c:v>23.XII.21</c:v>
                </c:pt>
                <c:pt idx="364">
                  <c:v>24.XII.21</c:v>
                </c:pt>
                <c:pt idx="365">
                  <c:v>27.XII.21</c:v>
                </c:pt>
                <c:pt idx="366">
                  <c:v>28.XII.21</c:v>
                </c:pt>
                <c:pt idx="367">
                  <c:v>29.XII.21</c:v>
                </c:pt>
                <c:pt idx="368">
                  <c:v>30.XII.21</c:v>
                </c:pt>
                <c:pt idx="369">
                  <c:v>31.XII.21</c:v>
                </c:pt>
                <c:pt idx="370">
                  <c:v>2.I.22</c:v>
                </c:pt>
                <c:pt idx="371">
                  <c:v>3.I.22</c:v>
                </c:pt>
                <c:pt idx="372">
                  <c:v>4.I.22</c:v>
                </c:pt>
                <c:pt idx="373">
                  <c:v>5.I.22</c:v>
                </c:pt>
                <c:pt idx="374">
                  <c:v>6.I.22</c:v>
                </c:pt>
                <c:pt idx="375">
                  <c:v>7.I.22</c:v>
                </c:pt>
                <c:pt idx="376">
                  <c:v>8.I.22</c:v>
                </c:pt>
                <c:pt idx="377">
                  <c:v>9.I.22</c:v>
                </c:pt>
                <c:pt idx="378">
                  <c:v>10.I.22</c:v>
                </c:pt>
                <c:pt idx="379">
                  <c:v>11.I.22</c:v>
                </c:pt>
                <c:pt idx="380">
                  <c:v>12.I.22</c:v>
                </c:pt>
                <c:pt idx="381">
                  <c:v>13.I.22</c:v>
                </c:pt>
                <c:pt idx="382">
                  <c:v>14.I.22</c:v>
                </c:pt>
                <c:pt idx="383">
                  <c:v>15.I.22</c:v>
                </c:pt>
                <c:pt idx="384">
                  <c:v>16.I.22</c:v>
                </c:pt>
                <c:pt idx="385">
                  <c:v>17.I.22</c:v>
                </c:pt>
                <c:pt idx="386">
                  <c:v>18.I.22</c:v>
                </c:pt>
                <c:pt idx="387">
                  <c:v>19.I.22</c:v>
                </c:pt>
                <c:pt idx="388">
                  <c:v>20.I.22</c:v>
                </c:pt>
                <c:pt idx="389">
                  <c:v>21.I.22</c:v>
                </c:pt>
                <c:pt idx="390">
                  <c:v>22.I.22</c:v>
                </c:pt>
                <c:pt idx="391">
                  <c:v>23.I.22</c:v>
                </c:pt>
                <c:pt idx="392">
                  <c:v>24.I.22</c:v>
                </c:pt>
                <c:pt idx="393">
                  <c:v>25.I.22</c:v>
                </c:pt>
                <c:pt idx="394">
                  <c:v>26.I.22</c:v>
                </c:pt>
                <c:pt idx="395">
                  <c:v>27.I.22</c:v>
                </c:pt>
                <c:pt idx="396">
                  <c:v>28.I.22</c:v>
                </c:pt>
                <c:pt idx="397">
                  <c:v>29.I.22</c:v>
                </c:pt>
                <c:pt idx="398">
                  <c:v>30.I.22</c:v>
                </c:pt>
                <c:pt idx="399">
                  <c:v>31.I.22</c:v>
                </c:pt>
                <c:pt idx="400">
                  <c:v>1.II.22</c:v>
                </c:pt>
                <c:pt idx="401">
                  <c:v>2.II.22</c:v>
                </c:pt>
                <c:pt idx="402">
                  <c:v>3.II.22</c:v>
                </c:pt>
                <c:pt idx="403">
                  <c:v>4.II.22</c:v>
                </c:pt>
                <c:pt idx="404">
                  <c:v>5.II.22</c:v>
                </c:pt>
                <c:pt idx="405">
                  <c:v>6.II.22</c:v>
                </c:pt>
                <c:pt idx="406">
                  <c:v>7.II.22</c:v>
                </c:pt>
                <c:pt idx="407">
                  <c:v>8.II.22</c:v>
                </c:pt>
                <c:pt idx="408">
                  <c:v>9.II.22</c:v>
                </c:pt>
                <c:pt idx="409">
                  <c:v>10.II.22</c:v>
                </c:pt>
                <c:pt idx="410">
                  <c:v>11.II.22</c:v>
                </c:pt>
                <c:pt idx="411">
                  <c:v>12.II.22</c:v>
                </c:pt>
                <c:pt idx="412">
                  <c:v>14.II.22</c:v>
                </c:pt>
                <c:pt idx="413">
                  <c:v>15.II.22</c:v>
                </c:pt>
                <c:pt idx="414">
                  <c:v>16.II.22</c:v>
                </c:pt>
                <c:pt idx="415">
                  <c:v>17.II.22</c:v>
                </c:pt>
                <c:pt idx="416">
                  <c:v>18.II.22</c:v>
                </c:pt>
                <c:pt idx="417">
                  <c:v>19.II.22</c:v>
                </c:pt>
                <c:pt idx="418">
                  <c:v>21.II.22</c:v>
                </c:pt>
                <c:pt idx="419">
                  <c:v>22.II.22</c:v>
                </c:pt>
                <c:pt idx="420">
                  <c:v>23.II.22</c:v>
                </c:pt>
                <c:pt idx="421">
                  <c:v>24.II.22</c:v>
                </c:pt>
                <c:pt idx="422">
                  <c:v>25.II.22</c:v>
                </c:pt>
                <c:pt idx="423">
                  <c:v>28.II.22</c:v>
                </c:pt>
                <c:pt idx="424">
                  <c:v>1.III.22</c:v>
                </c:pt>
                <c:pt idx="425">
                  <c:v>2.III.22</c:v>
                </c:pt>
                <c:pt idx="426">
                  <c:v>3.III.22</c:v>
                </c:pt>
                <c:pt idx="427">
                  <c:v>4.III.22</c:v>
                </c:pt>
              </c:strCache>
            </c:strRef>
          </c:cat>
          <c:val>
            <c:numRef>
              <c:f>List1!$G$5:$PR$5</c:f>
              <c:numCache>
                <c:formatCode>General</c:formatCode>
                <c:ptCount val="428"/>
                <c:pt idx="2">
                  <c:v>448</c:v>
                </c:pt>
                <c:pt idx="3">
                  <c:v>1180</c:v>
                </c:pt>
                <c:pt idx="4">
                  <c:v>2130</c:v>
                </c:pt>
                <c:pt idx="5">
                  <c:v>3072</c:v>
                </c:pt>
                <c:pt idx="6">
                  <c:v>3409</c:v>
                </c:pt>
                <c:pt idx="7">
                  <c:v>3498</c:v>
                </c:pt>
                <c:pt idx="8">
                  <c:v>3889</c:v>
                </c:pt>
                <c:pt idx="9">
                  <c:v>4202</c:v>
                </c:pt>
                <c:pt idx="10">
                  <c:v>5396</c:v>
                </c:pt>
                <c:pt idx="11">
                  <c:v>6708</c:v>
                </c:pt>
                <c:pt idx="12">
                  <c:v>8206</c:v>
                </c:pt>
                <c:pt idx="13">
                  <c:v>9882</c:v>
                </c:pt>
                <c:pt idx="14">
                  <c:v>11690</c:v>
                </c:pt>
                <c:pt idx="15">
                  <c:v>12098</c:v>
                </c:pt>
                <c:pt idx="16">
                  <c:v>12391</c:v>
                </c:pt>
                <c:pt idx="17">
                  <c:v>14137</c:v>
                </c:pt>
                <c:pt idx="18">
                  <c:v>16082</c:v>
                </c:pt>
                <c:pt idx="19">
                  <c:v>17783</c:v>
                </c:pt>
                <c:pt idx="20">
                  <c:v>19687</c:v>
                </c:pt>
                <c:pt idx="21">
                  <c:v>21487</c:v>
                </c:pt>
                <c:pt idx="22">
                  <c:v>21822</c:v>
                </c:pt>
                <c:pt idx="23">
                  <c:v>22047</c:v>
                </c:pt>
                <c:pt idx="24">
                  <c:v>23603</c:v>
                </c:pt>
                <c:pt idx="25">
                  <c:v>24780</c:v>
                </c:pt>
                <c:pt idx="26">
                  <c:v>25907</c:v>
                </c:pt>
                <c:pt idx="27">
                  <c:v>26903</c:v>
                </c:pt>
                <c:pt idx="28">
                  <c:v>27733</c:v>
                </c:pt>
                <c:pt idx="29">
                  <c:v>27902</c:v>
                </c:pt>
                <c:pt idx="30">
                  <c:v>27984</c:v>
                </c:pt>
                <c:pt idx="31">
                  <c:v>28496</c:v>
                </c:pt>
                <c:pt idx="32">
                  <c:v>29035</c:v>
                </c:pt>
                <c:pt idx="33">
                  <c:v>29434</c:v>
                </c:pt>
                <c:pt idx="34">
                  <c:v>29810</c:v>
                </c:pt>
                <c:pt idx="35">
                  <c:v>30143</c:v>
                </c:pt>
                <c:pt idx="36">
                  <c:v>30168</c:v>
                </c:pt>
                <c:pt idx="37">
                  <c:v>30189</c:v>
                </c:pt>
                <c:pt idx="38">
                  <c:v>30433</c:v>
                </c:pt>
                <c:pt idx="39">
                  <c:v>30669</c:v>
                </c:pt>
                <c:pt idx="40">
                  <c:v>30892</c:v>
                </c:pt>
                <c:pt idx="41">
                  <c:v>31087</c:v>
                </c:pt>
                <c:pt idx="42">
                  <c:v>31362</c:v>
                </c:pt>
                <c:pt idx="43">
                  <c:v>31382</c:v>
                </c:pt>
                <c:pt idx="44">
                  <c:v>31394</c:v>
                </c:pt>
                <c:pt idx="45">
                  <c:v>31528</c:v>
                </c:pt>
                <c:pt idx="46">
                  <c:v>31666</c:v>
                </c:pt>
                <c:pt idx="47">
                  <c:v>31861</c:v>
                </c:pt>
                <c:pt idx="48">
                  <c:v>32092</c:v>
                </c:pt>
                <c:pt idx="49">
                  <c:v>32370</c:v>
                </c:pt>
                <c:pt idx="50">
                  <c:v>32469</c:v>
                </c:pt>
                <c:pt idx="51">
                  <c:v>32533</c:v>
                </c:pt>
                <c:pt idx="52">
                  <c:v>32889</c:v>
                </c:pt>
                <c:pt idx="53">
                  <c:v>33186</c:v>
                </c:pt>
                <c:pt idx="54">
                  <c:v>33448</c:v>
                </c:pt>
                <c:pt idx="55">
                  <c:v>33786</c:v>
                </c:pt>
                <c:pt idx="56">
                  <c:v>34232</c:v>
                </c:pt>
                <c:pt idx="57">
                  <c:v>34338</c:v>
                </c:pt>
                <c:pt idx="58">
                  <c:v>34385</c:v>
                </c:pt>
                <c:pt idx="59">
                  <c:v>34695</c:v>
                </c:pt>
                <c:pt idx="60">
                  <c:v>35174</c:v>
                </c:pt>
                <c:pt idx="61">
                  <c:v>35772</c:v>
                </c:pt>
                <c:pt idx="62">
                  <c:v>36425</c:v>
                </c:pt>
                <c:pt idx="63">
                  <c:v>36967</c:v>
                </c:pt>
                <c:pt idx="64">
                  <c:v>37041</c:v>
                </c:pt>
                <c:pt idx="65">
                  <c:v>37084</c:v>
                </c:pt>
                <c:pt idx="66">
                  <c:v>37630</c:v>
                </c:pt>
                <c:pt idx="67">
                  <c:v>38225</c:v>
                </c:pt>
                <c:pt idx="68">
                  <c:v>38786</c:v>
                </c:pt>
                <c:pt idx="69">
                  <c:v>39329</c:v>
                </c:pt>
                <c:pt idx="70">
                  <c:v>39921</c:v>
                </c:pt>
                <c:pt idx="71">
                  <c:v>40088</c:v>
                </c:pt>
                <c:pt idx="72">
                  <c:v>40197</c:v>
                </c:pt>
                <c:pt idx="73">
                  <c:v>40524</c:v>
                </c:pt>
                <c:pt idx="74">
                  <c:v>40921</c:v>
                </c:pt>
                <c:pt idx="75">
                  <c:v>41323</c:v>
                </c:pt>
                <c:pt idx="76">
                  <c:v>41800</c:v>
                </c:pt>
                <c:pt idx="77">
                  <c:v>42204</c:v>
                </c:pt>
                <c:pt idx="78">
                  <c:v>42342</c:v>
                </c:pt>
                <c:pt idx="79">
                  <c:v>42427</c:v>
                </c:pt>
                <c:pt idx="80">
                  <c:v>42679</c:v>
                </c:pt>
                <c:pt idx="81">
                  <c:v>43041</c:v>
                </c:pt>
                <c:pt idx="82">
                  <c:v>43396</c:v>
                </c:pt>
                <c:pt idx="83">
                  <c:v>43751</c:v>
                </c:pt>
                <c:pt idx="84">
                  <c:v>44080</c:v>
                </c:pt>
                <c:pt idx="85">
                  <c:v>44195</c:v>
                </c:pt>
                <c:pt idx="86">
                  <c:v>44265</c:v>
                </c:pt>
                <c:pt idx="87">
                  <c:v>44437</c:v>
                </c:pt>
                <c:pt idx="88">
                  <c:v>44630</c:v>
                </c:pt>
                <c:pt idx="89">
                  <c:v>44777</c:v>
                </c:pt>
                <c:pt idx="90">
                  <c:v>44970</c:v>
                </c:pt>
                <c:pt idx="91">
                  <c:v>45189</c:v>
                </c:pt>
                <c:pt idx="92">
                  <c:v>45252</c:v>
                </c:pt>
                <c:pt idx="93">
                  <c:v>45293</c:v>
                </c:pt>
                <c:pt idx="94">
                  <c:v>45418</c:v>
                </c:pt>
                <c:pt idx="95">
                  <c:v>45578</c:v>
                </c:pt>
                <c:pt idx="96">
                  <c:v>45737</c:v>
                </c:pt>
                <c:pt idx="97">
                  <c:v>45957</c:v>
                </c:pt>
                <c:pt idx="98">
                  <c:v>46034</c:v>
                </c:pt>
                <c:pt idx="99">
                  <c:v>46054</c:v>
                </c:pt>
                <c:pt idx="100">
                  <c:v>46082</c:v>
                </c:pt>
                <c:pt idx="101">
                  <c:v>46089</c:v>
                </c:pt>
                <c:pt idx="102">
                  <c:v>46179</c:v>
                </c:pt>
                <c:pt idx="103">
                  <c:v>46273</c:v>
                </c:pt>
                <c:pt idx="104">
                  <c:v>46441</c:v>
                </c:pt>
                <c:pt idx="105">
                  <c:v>46641</c:v>
                </c:pt>
                <c:pt idx="106">
                  <c:v>46686</c:v>
                </c:pt>
                <c:pt idx="107">
                  <c:v>46719</c:v>
                </c:pt>
                <c:pt idx="108">
                  <c:v>46855</c:v>
                </c:pt>
                <c:pt idx="109">
                  <c:v>46977</c:v>
                </c:pt>
                <c:pt idx="110">
                  <c:v>47082</c:v>
                </c:pt>
                <c:pt idx="111">
                  <c:v>47239</c:v>
                </c:pt>
                <c:pt idx="112">
                  <c:v>47414</c:v>
                </c:pt>
                <c:pt idx="113">
                  <c:v>47455</c:v>
                </c:pt>
                <c:pt idx="114">
                  <c:v>47510</c:v>
                </c:pt>
                <c:pt idx="115">
                  <c:v>47637</c:v>
                </c:pt>
                <c:pt idx="116">
                  <c:v>47756</c:v>
                </c:pt>
                <c:pt idx="117">
                  <c:v>47890</c:v>
                </c:pt>
                <c:pt idx="118">
                  <c:v>48036</c:v>
                </c:pt>
                <c:pt idx="119">
                  <c:v>48193</c:v>
                </c:pt>
                <c:pt idx="120">
                  <c:v>48249</c:v>
                </c:pt>
                <c:pt idx="121">
                  <c:v>48284</c:v>
                </c:pt>
                <c:pt idx="122">
                  <c:v>48396</c:v>
                </c:pt>
                <c:pt idx="123">
                  <c:v>48517</c:v>
                </c:pt>
                <c:pt idx="124">
                  <c:v>48636</c:v>
                </c:pt>
                <c:pt idx="125">
                  <c:v>48769</c:v>
                </c:pt>
                <c:pt idx="126">
                  <c:v>48908</c:v>
                </c:pt>
                <c:pt idx="127">
                  <c:v>48937</c:v>
                </c:pt>
                <c:pt idx="128">
                  <c:v>48966</c:v>
                </c:pt>
                <c:pt idx="129">
                  <c:v>49086</c:v>
                </c:pt>
                <c:pt idx="130">
                  <c:v>49211</c:v>
                </c:pt>
                <c:pt idx="131">
                  <c:v>49308</c:v>
                </c:pt>
                <c:pt idx="132">
                  <c:v>49425</c:v>
                </c:pt>
                <c:pt idx="133">
                  <c:v>49598</c:v>
                </c:pt>
                <c:pt idx="134">
                  <c:v>49660</c:v>
                </c:pt>
                <c:pt idx="135">
                  <c:v>49692</c:v>
                </c:pt>
                <c:pt idx="136">
                  <c:v>49791</c:v>
                </c:pt>
                <c:pt idx="137">
                  <c:v>49908</c:v>
                </c:pt>
                <c:pt idx="138">
                  <c:v>50038</c:v>
                </c:pt>
                <c:pt idx="139">
                  <c:v>50196</c:v>
                </c:pt>
                <c:pt idx="140">
                  <c:v>50322</c:v>
                </c:pt>
                <c:pt idx="141">
                  <c:v>50393</c:v>
                </c:pt>
                <c:pt idx="142">
                  <c:v>50425</c:v>
                </c:pt>
                <c:pt idx="143">
                  <c:v>50507</c:v>
                </c:pt>
                <c:pt idx="144">
                  <c:v>50599</c:v>
                </c:pt>
                <c:pt idx="145">
                  <c:v>50684</c:v>
                </c:pt>
                <c:pt idx="146">
                  <c:v>50784</c:v>
                </c:pt>
                <c:pt idx="147">
                  <c:v>50891</c:v>
                </c:pt>
                <c:pt idx="148">
                  <c:v>50921</c:v>
                </c:pt>
                <c:pt idx="149">
                  <c:v>50936</c:v>
                </c:pt>
                <c:pt idx="150">
                  <c:v>50985</c:v>
                </c:pt>
                <c:pt idx="151">
                  <c:v>51045</c:v>
                </c:pt>
                <c:pt idx="152">
                  <c:v>51137</c:v>
                </c:pt>
                <c:pt idx="153">
                  <c:v>51219</c:v>
                </c:pt>
                <c:pt idx="154">
                  <c:v>51323</c:v>
                </c:pt>
                <c:pt idx="155">
                  <c:v>51360</c:v>
                </c:pt>
                <c:pt idx="156">
                  <c:v>51393</c:v>
                </c:pt>
                <c:pt idx="157">
                  <c:v>51468</c:v>
                </c:pt>
                <c:pt idx="158">
                  <c:v>51548</c:v>
                </c:pt>
                <c:pt idx="159">
                  <c:v>51642</c:v>
                </c:pt>
                <c:pt idx="160">
                  <c:v>51713</c:v>
                </c:pt>
                <c:pt idx="161">
                  <c:v>51811</c:v>
                </c:pt>
                <c:pt idx="162">
                  <c:v>51838</c:v>
                </c:pt>
                <c:pt idx="163">
                  <c:v>51871</c:v>
                </c:pt>
                <c:pt idx="164">
                  <c:v>51950</c:v>
                </c:pt>
                <c:pt idx="165">
                  <c:v>52048</c:v>
                </c:pt>
                <c:pt idx="166">
                  <c:v>52135</c:v>
                </c:pt>
                <c:pt idx="167">
                  <c:v>52220</c:v>
                </c:pt>
                <c:pt idx="168">
                  <c:v>52314</c:v>
                </c:pt>
                <c:pt idx="169">
                  <c:v>52343</c:v>
                </c:pt>
                <c:pt idx="170">
                  <c:v>52373</c:v>
                </c:pt>
                <c:pt idx="171">
                  <c:v>52443</c:v>
                </c:pt>
                <c:pt idx="172">
                  <c:v>52497</c:v>
                </c:pt>
                <c:pt idx="173">
                  <c:v>52572</c:v>
                </c:pt>
                <c:pt idx="174">
                  <c:v>52650</c:v>
                </c:pt>
                <c:pt idx="175">
                  <c:v>52728</c:v>
                </c:pt>
                <c:pt idx="176">
                  <c:v>52756</c:v>
                </c:pt>
                <c:pt idx="177">
                  <c:v>52781</c:v>
                </c:pt>
                <c:pt idx="178">
                  <c:v>52820</c:v>
                </c:pt>
                <c:pt idx="179">
                  <c:v>52870</c:v>
                </c:pt>
                <c:pt idx="180">
                  <c:v>52925</c:v>
                </c:pt>
                <c:pt idx="181">
                  <c:v>52977</c:v>
                </c:pt>
                <c:pt idx="182">
                  <c:v>53034</c:v>
                </c:pt>
                <c:pt idx="183">
                  <c:v>53048</c:v>
                </c:pt>
                <c:pt idx="184">
                  <c:v>53060</c:v>
                </c:pt>
                <c:pt idx="185">
                  <c:v>53104</c:v>
                </c:pt>
                <c:pt idx="186">
                  <c:v>53149</c:v>
                </c:pt>
                <c:pt idx="187">
                  <c:v>53207</c:v>
                </c:pt>
                <c:pt idx="188">
                  <c:v>53251</c:v>
                </c:pt>
                <c:pt idx="189">
                  <c:v>53306</c:v>
                </c:pt>
                <c:pt idx="190">
                  <c:v>53318</c:v>
                </c:pt>
                <c:pt idx="191">
                  <c:v>53330</c:v>
                </c:pt>
                <c:pt idx="192">
                  <c:v>53336</c:v>
                </c:pt>
                <c:pt idx="193">
                  <c:v>53345</c:v>
                </c:pt>
                <c:pt idx="194">
                  <c:v>53385</c:v>
                </c:pt>
                <c:pt idx="195">
                  <c:v>53440</c:v>
                </c:pt>
                <c:pt idx="196">
                  <c:v>53488</c:v>
                </c:pt>
                <c:pt idx="197">
                  <c:v>53503</c:v>
                </c:pt>
                <c:pt idx="198">
                  <c:v>53517</c:v>
                </c:pt>
                <c:pt idx="199">
                  <c:v>53565</c:v>
                </c:pt>
                <c:pt idx="200">
                  <c:v>53608</c:v>
                </c:pt>
                <c:pt idx="201">
                  <c:v>53654</c:v>
                </c:pt>
                <c:pt idx="202">
                  <c:v>53714</c:v>
                </c:pt>
                <c:pt idx="203">
                  <c:v>53769</c:v>
                </c:pt>
                <c:pt idx="204">
                  <c:v>53791</c:v>
                </c:pt>
                <c:pt idx="205">
                  <c:v>53810</c:v>
                </c:pt>
                <c:pt idx="206">
                  <c:v>53859</c:v>
                </c:pt>
                <c:pt idx="207">
                  <c:v>53905</c:v>
                </c:pt>
                <c:pt idx="208">
                  <c:v>53974</c:v>
                </c:pt>
                <c:pt idx="209">
                  <c:v>54012</c:v>
                </c:pt>
                <c:pt idx="210">
                  <c:v>54045</c:v>
                </c:pt>
                <c:pt idx="211">
                  <c:v>54051</c:v>
                </c:pt>
                <c:pt idx="212">
                  <c:v>54060</c:v>
                </c:pt>
                <c:pt idx="213">
                  <c:v>54101</c:v>
                </c:pt>
                <c:pt idx="214">
                  <c:v>54152</c:v>
                </c:pt>
                <c:pt idx="215">
                  <c:v>54186</c:v>
                </c:pt>
                <c:pt idx="216">
                  <c:v>54214</c:v>
                </c:pt>
                <c:pt idx="217">
                  <c:v>54258</c:v>
                </c:pt>
                <c:pt idx="218">
                  <c:v>54275</c:v>
                </c:pt>
                <c:pt idx="219">
                  <c:v>54288</c:v>
                </c:pt>
                <c:pt idx="220">
                  <c:v>54325</c:v>
                </c:pt>
                <c:pt idx="221">
                  <c:v>54351</c:v>
                </c:pt>
                <c:pt idx="222">
                  <c:v>54391</c:v>
                </c:pt>
                <c:pt idx="223">
                  <c:v>54422</c:v>
                </c:pt>
                <c:pt idx="224">
                  <c:v>54455</c:v>
                </c:pt>
                <c:pt idx="225">
                  <c:v>54468</c:v>
                </c:pt>
                <c:pt idx="226">
                  <c:v>54473</c:v>
                </c:pt>
                <c:pt idx="227">
                  <c:v>54495</c:v>
                </c:pt>
                <c:pt idx="228">
                  <c:v>54510</c:v>
                </c:pt>
                <c:pt idx="229">
                  <c:v>54530</c:v>
                </c:pt>
                <c:pt idx="230">
                  <c:v>54553</c:v>
                </c:pt>
                <c:pt idx="231">
                  <c:v>54578</c:v>
                </c:pt>
                <c:pt idx="232">
                  <c:v>54588</c:v>
                </c:pt>
                <c:pt idx="233">
                  <c:v>54593</c:v>
                </c:pt>
                <c:pt idx="234">
                  <c:v>54610</c:v>
                </c:pt>
                <c:pt idx="235">
                  <c:v>54634</c:v>
                </c:pt>
                <c:pt idx="236">
                  <c:v>54657</c:v>
                </c:pt>
                <c:pt idx="237">
                  <c:v>54679</c:v>
                </c:pt>
                <c:pt idx="238">
                  <c:v>54712</c:v>
                </c:pt>
                <c:pt idx="239">
                  <c:v>54722</c:v>
                </c:pt>
                <c:pt idx="240">
                  <c:v>54725</c:v>
                </c:pt>
                <c:pt idx="241">
                  <c:v>54737</c:v>
                </c:pt>
                <c:pt idx="242">
                  <c:v>54765</c:v>
                </c:pt>
                <c:pt idx="243">
                  <c:v>54789</c:v>
                </c:pt>
                <c:pt idx="244">
                  <c:v>54816</c:v>
                </c:pt>
                <c:pt idx="245">
                  <c:v>54844</c:v>
                </c:pt>
                <c:pt idx="246">
                  <c:v>54846</c:v>
                </c:pt>
                <c:pt idx="247">
                  <c:v>54853</c:v>
                </c:pt>
                <c:pt idx="248">
                  <c:v>54875</c:v>
                </c:pt>
                <c:pt idx="249">
                  <c:v>54900</c:v>
                </c:pt>
                <c:pt idx="250">
                  <c:v>54920</c:v>
                </c:pt>
                <c:pt idx="251">
                  <c:v>54948</c:v>
                </c:pt>
                <c:pt idx="252">
                  <c:v>54974</c:v>
                </c:pt>
                <c:pt idx="253">
                  <c:v>54982</c:v>
                </c:pt>
                <c:pt idx="254">
                  <c:v>54987</c:v>
                </c:pt>
                <c:pt idx="255">
                  <c:v>55000</c:v>
                </c:pt>
                <c:pt idx="256">
                  <c:v>55013</c:v>
                </c:pt>
                <c:pt idx="257">
                  <c:v>55033</c:v>
                </c:pt>
                <c:pt idx="258">
                  <c:v>55061</c:v>
                </c:pt>
                <c:pt idx="259">
                  <c:v>55086</c:v>
                </c:pt>
                <c:pt idx="260">
                  <c:v>55088</c:v>
                </c:pt>
                <c:pt idx="261">
                  <c:v>55091</c:v>
                </c:pt>
                <c:pt idx="262">
                  <c:v>55110</c:v>
                </c:pt>
                <c:pt idx="263">
                  <c:v>55128</c:v>
                </c:pt>
                <c:pt idx="264">
                  <c:v>55143</c:v>
                </c:pt>
                <c:pt idx="265">
                  <c:v>55161</c:v>
                </c:pt>
                <c:pt idx="266">
                  <c:v>55186</c:v>
                </c:pt>
                <c:pt idx="267">
                  <c:v>55191</c:v>
                </c:pt>
                <c:pt idx="268">
                  <c:v>55191</c:v>
                </c:pt>
                <c:pt idx="269">
                  <c:v>55211</c:v>
                </c:pt>
                <c:pt idx="270">
                  <c:v>55219</c:v>
                </c:pt>
                <c:pt idx="271">
                  <c:v>55230</c:v>
                </c:pt>
                <c:pt idx="272">
                  <c:v>55253</c:v>
                </c:pt>
                <c:pt idx="273">
                  <c:v>55278</c:v>
                </c:pt>
                <c:pt idx="274">
                  <c:v>55284</c:v>
                </c:pt>
                <c:pt idx="275">
                  <c:v>55284</c:v>
                </c:pt>
                <c:pt idx="276">
                  <c:v>55296</c:v>
                </c:pt>
                <c:pt idx="277">
                  <c:v>55296</c:v>
                </c:pt>
                <c:pt idx="278">
                  <c:v>55313</c:v>
                </c:pt>
                <c:pt idx="279">
                  <c:v>55328</c:v>
                </c:pt>
                <c:pt idx="280">
                  <c:v>55348</c:v>
                </c:pt>
                <c:pt idx="281">
                  <c:v>55354</c:v>
                </c:pt>
                <c:pt idx="282">
                  <c:v>55354</c:v>
                </c:pt>
                <c:pt idx="283">
                  <c:v>55363</c:v>
                </c:pt>
                <c:pt idx="284">
                  <c:v>55370</c:v>
                </c:pt>
                <c:pt idx="285">
                  <c:v>55382</c:v>
                </c:pt>
                <c:pt idx="286">
                  <c:v>55400</c:v>
                </c:pt>
                <c:pt idx="287">
                  <c:v>55414</c:v>
                </c:pt>
                <c:pt idx="288">
                  <c:v>55420</c:v>
                </c:pt>
                <c:pt idx="289">
                  <c:v>55420</c:v>
                </c:pt>
                <c:pt idx="290">
                  <c:v>55439</c:v>
                </c:pt>
                <c:pt idx="291">
                  <c:v>55457</c:v>
                </c:pt>
                <c:pt idx="292">
                  <c:v>55464</c:v>
                </c:pt>
                <c:pt idx="293">
                  <c:v>55474</c:v>
                </c:pt>
                <c:pt idx="294">
                  <c:v>55491</c:v>
                </c:pt>
                <c:pt idx="295">
                  <c:v>55493</c:v>
                </c:pt>
                <c:pt idx="296">
                  <c:v>55495</c:v>
                </c:pt>
                <c:pt idx="297">
                  <c:v>55516</c:v>
                </c:pt>
                <c:pt idx="298">
                  <c:v>55523</c:v>
                </c:pt>
                <c:pt idx="299">
                  <c:v>55537</c:v>
                </c:pt>
                <c:pt idx="300">
                  <c:v>55562</c:v>
                </c:pt>
                <c:pt idx="301">
                  <c:v>55601</c:v>
                </c:pt>
                <c:pt idx="302">
                  <c:v>55608</c:v>
                </c:pt>
                <c:pt idx="303">
                  <c:v>55614</c:v>
                </c:pt>
                <c:pt idx="304">
                  <c:v>55635</c:v>
                </c:pt>
                <c:pt idx="305">
                  <c:v>55672</c:v>
                </c:pt>
                <c:pt idx="306">
                  <c:v>55719</c:v>
                </c:pt>
                <c:pt idx="307">
                  <c:v>55726</c:v>
                </c:pt>
                <c:pt idx="308">
                  <c:v>55760</c:v>
                </c:pt>
                <c:pt idx="309">
                  <c:v>55772</c:v>
                </c:pt>
                <c:pt idx="310">
                  <c:v>55775</c:v>
                </c:pt>
                <c:pt idx="311">
                  <c:v>55819</c:v>
                </c:pt>
                <c:pt idx="312">
                  <c:v>55859</c:v>
                </c:pt>
                <c:pt idx="313">
                  <c:v>55894</c:v>
                </c:pt>
                <c:pt idx="314">
                  <c:v>55952</c:v>
                </c:pt>
                <c:pt idx="315">
                  <c:v>56015</c:v>
                </c:pt>
                <c:pt idx="316">
                  <c:v>56039</c:v>
                </c:pt>
                <c:pt idx="317">
                  <c:v>56052</c:v>
                </c:pt>
                <c:pt idx="318">
                  <c:v>56082</c:v>
                </c:pt>
                <c:pt idx="319">
                  <c:v>56117</c:v>
                </c:pt>
                <c:pt idx="320">
                  <c:v>56150</c:v>
                </c:pt>
                <c:pt idx="321">
                  <c:v>56184</c:v>
                </c:pt>
                <c:pt idx="322">
                  <c:v>56248</c:v>
                </c:pt>
                <c:pt idx="323">
                  <c:v>56259</c:v>
                </c:pt>
                <c:pt idx="324">
                  <c:v>56268</c:v>
                </c:pt>
                <c:pt idx="325">
                  <c:v>56315</c:v>
                </c:pt>
                <c:pt idx="326">
                  <c:v>56370</c:v>
                </c:pt>
                <c:pt idx="327">
                  <c:v>56385</c:v>
                </c:pt>
                <c:pt idx="328">
                  <c:v>56430</c:v>
                </c:pt>
                <c:pt idx="329">
                  <c:v>56497</c:v>
                </c:pt>
                <c:pt idx="330">
                  <c:v>56523</c:v>
                </c:pt>
                <c:pt idx="331">
                  <c:v>56534</c:v>
                </c:pt>
                <c:pt idx="332">
                  <c:v>56582</c:v>
                </c:pt>
                <c:pt idx="333">
                  <c:v>56631</c:v>
                </c:pt>
                <c:pt idx="334">
                  <c:v>56666</c:v>
                </c:pt>
                <c:pt idx="335">
                  <c:v>56717</c:v>
                </c:pt>
                <c:pt idx="336">
                  <c:v>56778</c:v>
                </c:pt>
                <c:pt idx="337">
                  <c:v>56788</c:v>
                </c:pt>
                <c:pt idx="338">
                  <c:v>56793</c:v>
                </c:pt>
                <c:pt idx="339">
                  <c:v>56823</c:v>
                </c:pt>
                <c:pt idx="340">
                  <c:v>56851</c:v>
                </c:pt>
                <c:pt idx="341">
                  <c:v>56884</c:v>
                </c:pt>
                <c:pt idx="342">
                  <c:v>56910</c:v>
                </c:pt>
                <c:pt idx="343">
                  <c:v>56941</c:v>
                </c:pt>
                <c:pt idx="344">
                  <c:v>56945</c:v>
                </c:pt>
                <c:pt idx="345">
                  <c:v>56947</c:v>
                </c:pt>
                <c:pt idx="346">
                  <c:v>56966</c:v>
                </c:pt>
                <c:pt idx="347">
                  <c:v>56984</c:v>
                </c:pt>
                <c:pt idx="348">
                  <c:v>57008</c:v>
                </c:pt>
                <c:pt idx="349">
                  <c:v>57027</c:v>
                </c:pt>
                <c:pt idx="350">
                  <c:v>57046</c:v>
                </c:pt>
                <c:pt idx="351">
                  <c:v>57050</c:v>
                </c:pt>
                <c:pt idx="352">
                  <c:v>57052</c:v>
                </c:pt>
                <c:pt idx="353">
                  <c:v>57065</c:v>
                </c:pt>
                <c:pt idx="354">
                  <c:v>57076</c:v>
                </c:pt>
                <c:pt idx="355">
                  <c:v>57088</c:v>
                </c:pt>
                <c:pt idx="356">
                  <c:v>57105</c:v>
                </c:pt>
                <c:pt idx="357">
                  <c:v>57122</c:v>
                </c:pt>
                <c:pt idx="358">
                  <c:v>57126</c:v>
                </c:pt>
                <c:pt idx="359">
                  <c:v>57128</c:v>
                </c:pt>
                <c:pt idx="360">
                  <c:v>57137</c:v>
                </c:pt>
                <c:pt idx="361">
                  <c:v>57144</c:v>
                </c:pt>
                <c:pt idx="362">
                  <c:v>57157</c:v>
                </c:pt>
                <c:pt idx="363">
                  <c:v>57159</c:v>
                </c:pt>
                <c:pt idx="364">
                  <c:v>57160</c:v>
                </c:pt>
                <c:pt idx="365">
                  <c:v>57167</c:v>
                </c:pt>
                <c:pt idx="366">
                  <c:v>57172</c:v>
                </c:pt>
                <c:pt idx="367">
                  <c:v>57175</c:v>
                </c:pt>
                <c:pt idx="368">
                  <c:v>57181</c:v>
                </c:pt>
                <c:pt idx="369">
                  <c:v>57183</c:v>
                </c:pt>
                <c:pt idx="370">
                  <c:v>57184</c:v>
                </c:pt>
                <c:pt idx="371">
                  <c:v>57189</c:v>
                </c:pt>
                <c:pt idx="372">
                  <c:v>57195</c:v>
                </c:pt>
                <c:pt idx="373">
                  <c:v>57205</c:v>
                </c:pt>
                <c:pt idx="374">
                  <c:v>57214</c:v>
                </c:pt>
                <c:pt idx="375">
                  <c:v>57229</c:v>
                </c:pt>
                <c:pt idx="376">
                  <c:v>57232</c:v>
                </c:pt>
                <c:pt idx="377">
                  <c:v>57233</c:v>
                </c:pt>
                <c:pt idx="378">
                  <c:v>57241</c:v>
                </c:pt>
                <c:pt idx="379">
                  <c:v>57247</c:v>
                </c:pt>
                <c:pt idx="380">
                  <c:v>57259</c:v>
                </c:pt>
                <c:pt idx="381">
                  <c:v>57270</c:v>
                </c:pt>
                <c:pt idx="382">
                  <c:v>57282</c:v>
                </c:pt>
                <c:pt idx="383">
                  <c:v>57285</c:v>
                </c:pt>
                <c:pt idx="384">
                  <c:v>57285</c:v>
                </c:pt>
                <c:pt idx="385">
                  <c:v>57294</c:v>
                </c:pt>
                <c:pt idx="386">
                  <c:v>57302</c:v>
                </c:pt>
                <c:pt idx="387">
                  <c:v>57305</c:v>
                </c:pt>
                <c:pt idx="388">
                  <c:v>57313</c:v>
                </c:pt>
                <c:pt idx="389">
                  <c:v>57322</c:v>
                </c:pt>
                <c:pt idx="390">
                  <c:v>57323</c:v>
                </c:pt>
                <c:pt idx="391">
                  <c:v>57323</c:v>
                </c:pt>
                <c:pt idx="392">
                  <c:v>57327</c:v>
                </c:pt>
                <c:pt idx="393">
                  <c:v>57331</c:v>
                </c:pt>
                <c:pt idx="394">
                  <c:v>57337</c:v>
                </c:pt>
                <c:pt idx="395">
                  <c:v>57339</c:v>
                </c:pt>
                <c:pt idx="396">
                  <c:v>57347</c:v>
                </c:pt>
                <c:pt idx="397">
                  <c:v>57348</c:v>
                </c:pt>
                <c:pt idx="398">
                  <c:v>57348</c:v>
                </c:pt>
                <c:pt idx="399">
                  <c:v>57353</c:v>
                </c:pt>
                <c:pt idx="400">
                  <c:v>57355</c:v>
                </c:pt>
                <c:pt idx="401">
                  <c:v>57358</c:v>
                </c:pt>
                <c:pt idx="402">
                  <c:v>57361</c:v>
                </c:pt>
                <c:pt idx="403">
                  <c:v>57365</c:v>
                </c:pt>
                <c:pt idx="404">
                  <c:v>57365</c:v>
                </c:pt>
                <c:pt idx="405">
                  <c:v>57365</c:v>
                </c:pt>
                <c:pt idx="406">
                  <c:v>57366</c:v>
                </c:pt>
                <c:pt idx="407">
                  <c:v>57368</c:v>
                </c:pt>
                <c:pt idx="408">
                  <c:v>57370</c:v>
                </c:pt>
                <c:pt idx="409">
                  <c:v>57372</c:v>
                </c:pt>
                <c:pt idx="410">
                  <c:v>57376</c:v>
                </c:pt>
                <c:pt idx="411">
                  <c:v>57376</c:v>
                </c:pt>
                <c:pt idx="412">
                  <c:v>57376</c:v>
                </c:pt>
                <c:pt idx="413">
                  <c:v>57376</c:v>
                </c:pt>
                <c:pt idx="414">
                  <c:v>57377</c:v>
                </c:pt>
                <c:pt idx="415">
                  <c:v>57378</c:v>
                </c:pt>
                <c:pt idx="416">
                  <c:v>57379</c:v>
                </c:pt>
                <c:pt idx="417">
                  <c:v>57379</c:v>
                </c:pt>
                <c:pt idx="418">
                  <c:v>57379</c:v>
                </c:pt>
                <c:pt idx="419">
                  <c:v>57379</c:v>
                </c:pt>
                <c:pt idx="420">
                  <c:v>57380</c:v>
                </c:pt>
                <c:pt idx="421">
                  <c:v>57380</c:v>
                </c:pt>
                <c:pt idx="422">
                  <c:v>57382</c:v>
                </c:pt>
                <c:pt idx="423">
                  <c:v>57383</c:v>
                </c:pt>
                <c:pt idx="424">
                  <c:v>57383</c:v>
                </c:pt>
                <c:pt idx="425">
                  <c:v>57383</c:v>
                </c:pt>
                <c:pt idx="426">
                  <c:v>57384</c:v>
                </c:pt>
                <c:pt idx="427">
                  <c:v>5738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A783-4536-9939-DB56A099F99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335740047"/>
        <c:axId val="1249189871"/>
      </c:lineChart>
      <c:catAx>
        <c:axId val="1335740047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rgbClr val="000000"/>
            </a:solidFill>
            <a:round/>
          </a:ln>
          <a:effectLst/>
        </c:spPr>
        <c:txPr>
          <a:bodyPr rot="-3600000" spcFirstLastPara="1" vertOverflow="ellipsis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cs-CZ"/>
          </a:p>
        </c:txPr>
        <c:crossAx val="1249189871"/>
        <c:crosses val="autoZero"/>
        <c:auto val="1"/>
        <c:lblAlgn val="ctr"/>
        <c:lblOffset val="100"/>
        <c:tickLblSkip val="7"/>
        <c:noMultiLvlLbl val="0"/>
      </c:catAx>
      <c:valAx>
        <c:axId val="1249189871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1" i="0" u="none" strike="noStrike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cs-CZ"/>
          </a:p>
        </c:txPr>
        <c:crossAx val="1335740047"/>
        <c:crosses val="autoZero"/>
        <c:crossBetween val="midCat"/>
        <c:majorUnit val="20000"/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82797528443005752"/>
          <c:y val="0.28604517875847346"/>
          <c:w val="0.10158527092232689"/>
          <c:h val="0.47288853448727719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00" b="1" i="0" u="none" strike="noStrike" kern="1200" baseline="0">
              <a:solidFill>
                <a:schemeClr val="tx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cs-CZ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1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pPr>
      <a:endParaRPr lang="cs-CZ"/>
    </a:p>
  </c:txPr>
  <c:externalData r:id="rId4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3714648495541371E-2"/>
          <c:y val="0.11530977652557951"/>
          <c:w val="0.91692139603581668"/>
          <c:h val="0.71344666460445894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dLbl>
              <c:idx val="134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5A3F-421B-A24A-264CC3DD701B}"/>
                </c:ext>
              </c:extLst>
            </c:dLbl>
            <c:dLbl>
              <c:idx val="136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B487-4B41-A7BA-23E0663C99CB}"/>
                </c:ext>
              </c:extLst>
            </c:dLbl>
            <c:dLbl>
              <c:idx val="137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B487-4B41-A7BA-23E0663C99CB}"/>
                </c:ext>
              </c:extLst>
            </c:dLbl>
            <c:dLbl>
              <c:idx val="138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5A3F-421B-A24A-264CC3DD701B}"/>
                </c:ext>
              </c:extLst>
            </c:dLbl>
            <c:dLbl>
              <c:idx val="139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B487-4B41-A7BA-23E0663C99CB}"/>
                </c:ext>
              </c:extLst>
            </c:dLbl>
            <c:dLbl>
              <c:idx val="14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5A3F-421B-A24A-264CC3DD701B}"/>
                </c:ext>
              </c:extLst>
            </c:dLbl>
            <c:dLbl>
              <c:idx val="14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B487-4B41-A7BA-23E0663C99CB}"/>
                </c:ext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135:$A$391</c:f>
              <c:numCache>
                <c:formatCode>m/d/yyyy</c:formatCode>
                <c:ptCount val="257"/>
                <c:pt idx="0">
                  <c:v>44364</c:v>
                </c:pt>
                <c:pt idx="1">
                  <c:v>44365</c:v>
                </c:pt>
                <c:pt idx="2">
                  <c:v>44366</c:v>
                </c:pt>
                <c:pt idx="3">
                  <c:v>44367</c:v>
                </c:pt>
                <c:pt idx="4">
                  <c:v>44369</c:v>
                </c:pt>
                <c:pt idx="5">
                  <c:v>44370</c:v>
                </c:pt>
                <c:pt idx="6">
                  <c:v>44371</c:v>
                </c:pt>
                <c:pt idx="7">
                  <c:v>44373</c:v>
                </c:pt>
                <c:pt idx="8">
                  <c:v>44374</c:v>
                </c:pt>
                <c:pt idx="9">
                  <c:v>44375</c:v>
                </c:pt>
                <c:pt idx="10">
                  <c:v>44376</c:v>
                </c:pt>
                <c:pt idx="11">
                  <c:v>44378</c:v>
                </c:pt>
                <c:pt idx="12">
                  <c:v>44379</c:v>
                </c:pt>
                <c:pt idx="13">
                  <c:v>44381</c:v>
                </c:pt>
                <c:pt idx="14">
                  <c:v>44382</c:v>
                </c:pt>
                <c:pt idx="15">
                  <c:v>44383</c:v>
                </c:pt>
                <c:pt idx="16">
                  <c:v>44384</c:v>
                </c:pt>
                <c:pt idx="17">
                  <c:v>44385</c:v>
                </c:pt>
                <c:pt idx="18">
                  <c:v>44386</c:v>
                </c:pt>
                <c:pt idx="19">
                  <c:v>44387</c:v>
                </c:pt>
                <c:pt idx="20">
                  <c:v>44388</c:v>
                </c:pt>
                <c:pt idx="21">
                  <c:v>44389</c:v>
                </c:pt>
                <c:pt idx="22">
                  <c:v>44390</c:v>
                </c:pt>
                <c:pt idx="23">
                  <c:v>44391</c:v>
                </c:pt>
                <c:pt idx="24">
                  <c:v>44392</c:v>
                </c:pt>
                <c:pt idx="25">
                  <c:v>44393</c:v>
                </c:pt>
                <c:pt idx="26">
                  <c:v>44394</c:v>
                </c:pt>
                <c:pt idx="27">
                  <c:v>44395</c:v>
                </c:pt>
                <c:pt idx="28">
                  <c:v>44396</c:v>
                </c:pt>
                <c:pt idx="29">
                  <c:v>44397</c:v>
                </c:pt>
                <c:pt idx="30">
                  <c:v>44398</c:v>
                </c:pt>
                <c:pt idx="31">
                  <c:v>44399</c:v>
                </c:pt>
                <c:pt idx="32">
                  <c:v>44400</c:v>
                </c:pt>
                <c:pt idx="33">
                  <c:v>44401</c:v>
                </c:pt>
                <c:pt idx="34">
                  <c:v>44402</c:v>
                </c:pt>
                <c:pt idx="35">
                  <c:v>44403</c:v>
                </c:pt>
                <c:pt idx="36">
                  <c:v>44404</c:v>
                </c:pt>
                <c:pt idx="37">
                  <c:v>44405</c:v>
                </c:pt>
                <c:pt idx="38">
                  <c:v>44406</c:v>
                </c:pt>
                <c:pt idx="39">
                  <c:v>44407</c:v>
                </c:pt>
                <c:pt idx="40">
                  <c:v>44408</c:v>
                </c:pt>
                <c:pt idx="41">
                  <c:v>44409</c:v>
                </c:pt>
                <c:pt idx="42">
                  <c:v>44410</c:v>
                </c:pt>
                <c:pt idx="43">
                  <c:v>44411</c:v>
                </c:pt>
                <c:pt idx="44">
                  <c:v>44412</c:v>
                </c:pt>
                <c:pt idx="45">
                  <c:v>44413</c:v>
                </c:pt>
                <c:pt idx="46">
                  <c:v>44414</c:v>
                </c:pt>
                <c:pt idx="47">
                  <c:v>44415</c:v>
                </c:pt>
                <c:pt idx="48">
                  <c:v>44416</c:v>
                </c:pt>
                <c:pt idx="49">
                  <c:v>44417</c:v>
                </c:pt>
                <c:pt idx="50">
                  <c:v>44418</c:v>
                </c:pt>
                <c:pt idx="51">
                  <c:v>44419</c:v>
                </c:pt>
                <c:pt idx="52">
                  <c:v>44420</c:v>
                </c:pt>
                <c:pt idx="53">
                  <c:v>44421</c:v>
                </c:pt>
                <c:pt idx="54">
                  <c:v>44422</c:v>
                </c:pt>
                <c:pt idx="55">
                  <c:v>44423</c:v>
                </c:pt>
                <c:pt idx="56">
                  <c:v>44424</c:v>
                </c:pt>
                <c:pt idx="57">
                  <c:v>44425</c:v>
                </c:pt>
                <c:pt idx="58">
                  <c:v>44426</c:v>
                </c:pt>
                <c:pt idx="59">
                  <c:v>44427</c:v>
                </c:pt>
                <c:pt idx="60">
                  <c:v>44428</c:v>
                </c:pt>
                <c:pt idx="61">
                  <c:v>44429</c:v>
                </c:pt>
                <c:pt idx="62">
                  <c:v>44430</c:v>
                </c:pt>
                <c:pt idx="63">
                  <c:v>44431</c:v>
                </c:pt>
                <c:pt idx="64">
                  <c:v>44432</c:v>
                </c:pt>
                <c:pt idx="65">
                  <c:v>44433</c:v>
                </c:pt>
                <c:pt idx="66">
                  <c:v>44434</c:v>
                </c:pt>
                <c:pt idx="67">
                  <c:v>44435</c:v>
                </c:pt>
                <c:pt idx="68">
                  <c:v>44436</c:v>
                </c:pt>
                <c:pt idx="69">
                  <c:v>44437</c:v>
                </c:pt>
                <c:pt idx="70">
                  <c:v>44438</c:v>
                </c:pt>
                <c:pt idx="71">
                  <c:v>44439</c:v>
                </c:pt>
                <c:pt idx="72">
                  <c:v>44440</c:v>
                </c:pt>
                <c:pt idx="73">
                  <c:v>44441</c:v>
                </c:pt>
                <c:pt idx="74">
                  <c:v>44442</c:v>
                </c:pt>
                <c:pt idx="75">
                  <c:v>44443</c:v>
                </c:pt>
                <c:pt idx="76">
                  <c:v>44444</c:v>
                </c:pt>
                <c:pt idx="77">
                  <c:v>44445</c:v>
                </c:pt>
                <c:pt idx="78">
                  <c:v>44446</c:v>
                </c:pt>
                <c:pt idx="79">
                  <c:v>44447</c:v>
                </c:pt>
                <c:pt idx="80">
                  <c:v>44448</c:v>
                </c:pt>
                <c:pt idx="81">
                  <c:v>44449</c:v>
                </c:pt>
                <c:pt idx="82">
                  <c:v>44450</c:v>
                </c:pt>
                <c:pt idx="83">
                  <c:v>44451</c:v>
                </c:pt>
                <c:pt idx="84">
                  <c:v>44452</c:v>
                </c:pt>
                <c:pt idx="85">
                  <c:v>44453</c:v>
                </c:pt>
                <c:pt idx="86">
                  <c:v>44454</c:v>
                </c:pt>
                <c:pt idx="87">
                  <c:v>44455</c:v>
                </c:pt>
                <c:pt idx="88">
                  <c:v>44456</c:v>
                </c:pt>
                <c:pt idx="89">
                  <c:v>44457</c:v>
                </c:pt>
                <c:pt idx="90">
                  <c:v>44458</c:v>
                </c:pt>
                <c:pt idx="91">
                  <c:v>44459</c:v>
                </c:pt>
                <c:pt idx="92">
                  <c:v>44460</c:v>
                </c:pt>
                <c:pt idx="93">
                  <c:v>44461</c:v>
                </c:pt>
                <c:pt idx="94">
                  <c:v>44462</c:v>
                </c:pt>
                <c:pt idx="95">
                  <c:v>44463</c:v>
                </c:pt>
                <c:pt idx="96">
                  <c:v>44464</c:v>
                </c:pt>
                <c:pt idx="97">
                  <c:v>44465</c:v>
                </c:pt>
                <c:pt idx="98">
                  <c:v>44466</c:v>
                </c:pt>
                <c:pt idx="99">
                  <c:v>44467</c:v>
                </c:pt>
                <c:pt idx="100">
                  <c:v>44468</c:v>
                </c:pt>
                <c:pt idx="101">
                  <c:v>44469</c:v>
                </c:pt>
                <c:pt idx="102">
                  <c:v>44470</c:v>
                </c:pt>
                <c:pt idx="103">
                  <c:v>44471</c:v>
                </c:pt>
                <c:pt idx="104">
                  <c:v>44472</c:v>
                </c:pt>
                <c:pt idx="105">
                  <c:v>44473</c:v>
                </c:pt>
                <c:pt idx="106">
                  <c:v>44474</c:v>
                </c:pt>
                <c:pt idx="107">
                  <c:v>44475</c:v>
                </c:pt>
                <c:pt idx="108">
                  <c:v>44476</c:v>
                </c:pt>
                <c:pt idx="109">
                  <c:v>44477</c:v>
                </c:pt>
                <c:pt idx="110">
                  <c:v>44478</c:v>
                </c:pt>
                <c:pt idx="111">
                  <c:v>44479</c:v>
                </c:pt>
                <c:pt idx="112">
                  <c:v>44480</c:v>
                </c:pt>
                <c:pt idx="113">
                  <c:v>44481</c:v>
                </c:pt>
                <c:pt idx="114">
                  <c:v>44482</c:v>
                </c:pt>
                <c:pt idx="115">
                  <c:v>44483</c:v>
                </c:pt>
                <c:pt idx="116">
                  <c:v>44484</c:v>
                </c:pt>
                <c:pt idx="117">
                  <c:v>44485</c:v>
                </c:pt>
                <c:pt idx="118">
                  <c:v>44486</c:v>
                </c:pt>
                <c:pt idx="119">
                  <c:v>44487</c:v>
                </c:pt>
                <c:pt idx="120">
                  <c:v>44488</c:v>
                </c:pt>
                <c:pt idx="121">
                  <c:v>44489</c:v>
                </c:pt>
                <c:pt idx="122">
                  <c:v>44490</c:v>
                </c:pt>
                <c:pt idx="123">
                  <c:v>44491</c:v>
                </c:pt>
                <c:pt idx="124">
                  <c:v>44492</c:v>
                </c:pt>
                <c:pt idx="125">
                  <c:v>44493</c:v>
                </c:pt>
                <c:pt idx="126">
                  <c:v>44494</c:v>
                </c:pt>
                <c:pt idx="127">
                  <c:v>44495</c:v>
                </c:pt>
                <c:pt idx="128">
                  <c:v>44496</c:v>
                </c:pt>
                <c:pt idx="129">
                  <c:v>44497</c:v>
                </c:pt>
                <c:pt idx="130">
                  <c:v>44498</c:v>
                </c:pt>
                <c:pt idx="131">
                  <c:v>44499</c:v>
                </c:pt>
                <c:pt idx="132">
                  <c:v>44500</c:v>
                </c:pt>
                <c:pt idx="133">
                  <c:v>44501</c:v>
                </c:pt>
                <c:pt idx="134">
                  <c:v>44502</c:v>
                </c:pt>
                <c:pt idx="135">
                  <c:v>44503</c:v>
                </c:pt>
                <c:pt idx="136">
                  <c:v>44504</c:v>
                </c:pt>
                <c:pt idx="137">
                  <c:v>44505</c:v>
                </c:pt>
                <c:pt idx="138">
                  <c:v>44506</c:v>
                </c:pt>
                <c:pt idx="139">
                  <c:v>44507</c:v>
                </c:pt>
                <c:pt idx="140">
                  <c:v>44508</c:v>
                </c:pt>
                <c:pt idx="141">
                  <c:v>44509</c:v>
                </c:pt>
                <c:pt idx="142">
                  <c:v>44510</c:v>
                </c:pt>
                <c:pt idx="143">
                  <c:v>44511</c:v>
                </c:pt>
                <c:pt idx="144">
                  <c:v>44512</c:v>
                </c:pt>
                <c:pt idx="145">
                  <c:v>44513</c:v>
                </c:pt>
                <c:pt idx="146">
                  <c:v>44514</c:v>
                </c:pt>
                <c:pt idx="147">
                  <c:v>44515</c:v>
                </c:pt>
                <c:pt idx="148">
                  <c:v>44516</c:v>
                </c:pt>
                <c:pt idx="149">
                  <c:v>44517</c:v>
                </c:pt>
                <c:pt idx="150">
                  <c:v>44518</c:v>
                </c:pt>
                <c:pt idx="151">
                  <c:v>44519</c:v>
                </c:pt>
                <c:pt idx="152">
                  <c:v>44520</c:v>
                </c:pt>
                <c:pt idx="153">
                  <c:v>44521</c:v>
                </c:pt>
                <c:pt idx="154">
                  <c:v>44522</c:v>
                </c:pt>
                <c:pt idx="155">
                  <c:v>44523</c:v>
                </c:pt>
                <c:pt idx="156">
                  <c:v>44524</c:v>
                </c:pt>
                <c:pt idx="157">
                  <c:v>44525</c:v>
                </c:pt>
                <c:pt idx="158">
                  <c:v>44526</c:v>
                </c:pt>
                <c:pt idx="159">
                  <c:v>44527</c:v>
                </c:pt>
                <c:pt idx="160">
                  <c:v>44528</c:v>
                </c:pt>
                <c:pt idx="161">
                  <c:v>44529</c:v>
                </c:pt>
                <c:pt idx="162">
                  <c:v>44530</c:v>
                </c:pt>
                <c:pt idx="163">
                  <c:v>44531</c:v>
                </c:pt>
                <c:pt idx="164">
                  <c:v>44532</c:v>
                </c:pt>
                <c:pt idx="165">
                  <c:v>44533</c:v>
                </c:pt>
                <c:pt idx="166">
                  <c:v>44534</c:v>
                </c:pt>
                <c:pt idx="167">
                  <c:v>44535</c:v>
                </c:pt>
                <c:pt idx="168">
                  <c:v>44536</c:v>
                </c:pt>
                <c:pt idx="169">
                  <c:v>44537</c:v>
                </c:pt>
                <c:pt idx="170">
                  <c:v>44538</c:v>
                </c:pt>
                <c:pt idx="171">
                  <c:v>44539</c:v>
                </c:pt>
                <c:pt idx="172">
                  <c:v>44540</c:v>
                </c:pt>
                <c:pt idx="173">
                  <c:v>44541</c:v>
                </c:pt>
                <c:pt idx="174">
                  <c:v>44542</c:v>
                </c:pt>
                <c:pt idx="175">
                  <c:v>44543</c:v>
                </c:pt>
                <c:pt idx="176">
                  <c:v>44544</c:v>
                </c:pt>
                <c:pt idx="177">
                  <c:v>44545</c:v>
                </c:pt>
                <c:pt idx="178">
                  <c:v>44546</c:v>
                </c:pt>
                <c:pt idx="179">
                  <c:v>44547</c:v>
                </c:pt>
                <c:pt idx="180">
                  <c:v>44548</c:v>
                </c:pt>
                <c:pt idx="181">
                  <c:v>44549</c:v>
                </c:pt>
                <c:pt idx="182">
                  <c:v>44550</c:v>
                </c:pt>
                <c:pt idx="183">
                  <c:v>44551</c:v>
                </c:pt>
                <c:pt idx="184">
                  <c:v>44552</c:v>
                </c:pt>
                <c:pt idx="185">
                  <c:v>44553</c:v>
                </c:pt>
                <c:pt idx="186">
                  <c:v>44554</c:v>
                </c:pt>
                <c:pt idx="187">
                  <c:v>44555</c:v>
                </c:pt>
                <c:pt idx="188">
                  <c:v>44556</c:v>
                </c:pt>
                <c:pt idx="189">
                  <c:v>44557</c:v>
                </c:pt>
                <c:pt idx="190">
                  <c:v>44558</c:v>
                </c:pt>
                <c:pt idx="191">
                  <c:v>44559</c:v>
                </c:pt>
                <c:pt idx="192">
                  <c:v>44560</c:v>
                </c:pt>
                <c:pt idx="193">
                  <c:v>44561</c:v>
                </c:pt>
                <c:pt idx="194">
                  <c:v>44562</c:v>
                </c:pt>
                <c:pt idx="195">
                  <c:v>44563</c:v>
                </c:pt>
                <c:pt idx="196">
                  <c:v>44564</c:v>
                </c:pt>
                <c:pt idx="197">
                  <c:v>44565</c:v>
                </c:pt>
                <c:pt idx="198">
                  <c:v>44566</c:v>
                </c:pt>
                <c:pt idx="199">
                  <c:v>44567</c:v>
                </c:pt>
                <c:pt idx="200">
                  <c:v>44568</c:v>
                </c:pt>
                <c:pt idx="201">
                  <c:v>44569</c:v>
                </c:pt>
                <c:pt idx="202">
                  <c:v>44570</c:v>
                </c:pt>
                <c:pt idx="203">
                  <c:v>44571</c:v>
                </c:pt>
                <c:pt idx="204">
                  <c:v>44572</c:v>
                </c:pt>
                <c:pt idx="205">
                  <c:v>44573</c:v>
                </c:pt>
                <c:pt idx="206">
                  <c:v>44574</c:v>
                </c:pt>
                <c:pt idx="207">
                  <c:v>44575</c:v>
                </c:pt>
                <c:pt idx="208">
                  <c:v>44576</c:v>
                </c:pt>
                <c:pt idx="209">
                  <c:v>44577</c:v>
                </c:pt>
                <c:pt idx="210">
                  <c:v>44578</c:v>
                </c:pt>
                <c:pt idx="211">
                  <c:v>44579</c:v>
                </c:pt>
                <c:pt idx="212">
                  <c:v>44580</c:v>
                </c:pt>
                <c:pt idx="213">
                  <c:v>44581</c:v>
                </c:pt>
                <c:pt idx="214">
                  <c:v>44582</c:v>
                </c:pt>
                <c:pt idx="215">
                  <c:v>44583</c:v>
                </c:pt>
                <c:pt idx="216">
                  <c:v>44584</c:v>
                </c:pt>
                <c:pt idx="217">
                  <c:v>44585</c:v>
                </c:pt>
                <c:pt idx="218">
                  <c:v>44586</c:v>
                </c:pt>
                <c:pt idx="219">
                  <c:v>44587</c:v>
                </c:pt>
                <c:pt idx="220">
                  <c:v>44588</c:v>
                </c:pt>
                <c:pt idx="221">
                  <c:v>44589</c:v>
                </c:pt>
                <c:pt idx="222">
                  <c:v>44590</c:v>
                </c:pt>
                <c:pt idx="223">
                  <c:v>44591</c:v>
                </c:pt>
                <c:pt idx="224">
                  <c:v>44592</c:v>
                </c:pt>
                <c:pt idx="225">
                  <c:v>44593</c:v>
                </c:pt>
                <c:pt idx="226">
                  <c:v>44594</c:v>
                </c:pt>
                <c:pt idx="227">
                  <c:v>44595</c:v>
                </c:pt>
                <c:pt idx="228">
                  <c:v>44596</c:v>
                </c:pt>
                <c:pt idx="229">
                  <c:v>44597</c:v>
                </c:pt>
                <c:pt idx="230">
                  <c:v>44598</c:v>
                </c:pt>
                <c:pt idx="231">
                  <c:v>44599</c:v>
                </c:pt>
                <c:pt idx="232">
                  <c:v>44600</c:v>
                </c:pt>
                <c:pt idx="233">
                  <c:v>44601</c:v>
                </c:pt>
                <c:pt idx="234">
                  <c:v>44602</c:v>
                </c:pt>
                <c:pt idx="235">
                  <c:v>44603</c:v>
                </c:pt>
                <c:pt idx="236">
                  <c:v>44604</c:v>
                </c:pt>
                <c:pt idx="237">
                  <c:v>44605</c:v>
                </c:pt>
                <c:pt idx="238">
                  <c:v>44606</c:v>
                </c:pt>
                <c:pt idx="239">
                  <c:v>44607</c:v>
                </c:pt>
                <c:pt idx="240">
                  <c:v>44608</c:v>
                </c:pt>
                <c:pt idx="241">
                  <c:v>44609</c:v>
                </c:pt>
                <c:pt idx="242">
                  <c:v>44610</c:v>
                </c:pt>
                <c:pt idx="243">
                  <c:v>44611</c:v>
                </c:pt>
                <c:pt idx="244">
                  <c:v>44612</c:v>
                </c:pt>
                <c:pt idx="245">
                  <c:v>44613</c:v>
                </c:pt>
                <c:pt idx="246">
                  <c:v>44614</c:v>
                </c:pt>
                <c:pt idx="247">
                  <c:v>44615</c:v>
                </c:pt>
                <c:pt idx="248">
                  <c:v>44616</c:v>
                </c:pt>
                <c:pt idx="249">
                  <c:v>44617</c:v>
                </c:pt>
                <c:pt idx="250">
                  <c:v>44618</c:v>
                </c:pt>
                <c:pt idx="251">
                  <c:v>44619</c:v>
                </c:pt>
                <c:pt idx="252">
                  <c:v>44620</c:v>
                </c:pt>
                <c:pt idx="253">
                  <c:v>44621</c:v>
                </c:pt>
                <c:pt idx="254">
                  <c:v>44622</c:v>
                </c:pt>
                <c:pt idx="255">
                  <c:v>44623</c:v>
                </c:pt>
                <c:pt idx="256">
                  <c:v>44624</c:v>
                </c:pt>
              </c:numCache>
            </c:numRef>
          </c:cat>
          <c:val>
            <c:numRef>
              <c:f>Sheet1!$B$135:$B$391</c:f>
              <c:numCache>
                <c:formatCode>General</c:formatCode>
                <c:ptCount val="257"/>
                <c:pt idx="0">
                  <c:v>0</c:v>
                </c:pt>
                <c:pt idx="1">
                  <c:v>1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1</c:v>
                </c:pt>
                <c:pt idx="12">
                  <c:v>0</c:v>
                </c:pt>
                <c:pt idx="13">
                  <c:v>1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1</c:v>
                </c:pt>
                <c:pt idx="18">
                  <c:v>1</c:v>
                </c:pt>
                <c:pt idx="19">
                  <c:v>0</c:v>
                </c:pt>
                <c:pt idx="20">
                  <c:v>0</c:v>
                </c:pt>
                <c:pt idx="21">
                  <c:v>2</c:v>
                </c:pt>
                <c:pt idx="22">
                  <c:v>1</c:v>
                </c:pt>
                <c:pt idx="23">
                  <c:v>0</c:v>
                </c:pt>
                <c:pt idx="24">
                  <c:v>0</c:v>
                </c:pt>
                <c:pt idx="25">
                  <c:v>3</c:v>
                </c:pt>
                <c:pt idx="26">
                  <c:v>2</c:v>
                </c:pt>
                <c:pt idx="27">
                  <c:v>1</c:v>
                </c:pt>
                <c:pt idx="28">
                  <c:v>2</c:v>
                </c:pt>
                <c:pt idx="29">
                  <c:v>2</c:v>
                </c:pt>
                <c:pt idx="30">
                  <c:v>2</c:v>
                </c:pt>
                <c:pt idx="31">
                  <c:v>4</c:v>
                </c:pt>
                <c:pt idx="32">
                  <c:v>0</c:v>
                </c:pt>
                <c:pt idx="33">
                  <c:v>0</c:v>
                </c:pt>
                <c:pt idx="34">
                  <c:v>1</c:v>
                </c:pt>
                <c:pt idx="35">
                  <c:v>3</c:v>
                </c:pt>
                <c:pt idx="36">
                  <c:v>1</c:v>
                </c:pt>
                <c:pt idx="37">
                  <c:v>1</c:v>
                </c:pt>
                <c:pt idx="38">
                  <c:v>2</c:v>
                </c:pt>
                <c:pt idx="39">
                  <c:v>2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7</c:v>
                </c:pt>
                <c:pt idx="45">
                  <c:v>1</c:v>
                </c:pt>
                <c:pt idx="46">
                  <c:v>2</c:v>
                </c:pt>
                <c:pt idx="47">
                  <c:v>0</c:v>
                </c:pt>
                <c:pt idx="48">
                  <c:v>3</c:v>
                </c:pt>
                <c:pt idx="49">
                  <c:v>2</c:v>
                </c:pt>
                <c:pt idx="50">
                  <c:v>0</c:v>
                </c:pt>
                <c:pt idx="51">
                  <c:v>4</c:v>
                </c:pt>
                <c:pt idx="52">
                  <c:v>1</c:v>
                </c:pt>
                <c:pt idx="53">
                  <c:v>1</c:v>
                </c:pt>
                <c:pt idx="54">
                  <c:v>0</c:v>
                </c:pt>
                <c:pt idx="55">
                  <c:v>0</c:v>
                </c:pt>
                <c:pt idx="56">
                  <c:v>3</c:v>
                </c:pt>
                <c:pt idx="57">
                  <c:v>0</c:v>
                </c:pt>
                <c:pt idx="58">
                  <c:v>0</c:v>
                </c:pt>
                <c:pt idx="59">
                  <c:v>2</c:v>
                </c:pt>
                <c:pt idx="60">
                  <c:v>1</c:v>
                </c:pt>
                <c:pt idx="61">
                  <c:v>0</c:v>
                </c:pt>
                <c:pt idx="62">
                  <c:v>0</c:v>
                </c:pt>
                <c:pt idx="63">
                  <c:v>2</c:v>
                </c:pt>
                <c:pt idx="64">
                  <c:v>0</c:v>
                </c:pt>
                <c:pt idx="65">
                  <c:v>1</c:v>
                </c:pt>
                <c:pt idx="66">
                  <c:v>1</c:v>
                </c:pt>
                <c:pt idx="67">
                  <c:v>1</c:v>
                </c:pt>
                <c:pt idx="68">
                  <c:v>1</c:v>
                </c:pt>
                <c:pt idx="69">
                  <c:v>0</c:v>
                </c:pt>
                <c:pt idx="70">
                  <c:v>0</c:v>
                </c:pt>
                <c:pt idx="71">
                  <c:v>4</c:v>
                </c:pt>
                <c:pt idx="72">
                  <c:v>4</c:v>
                </c:pt>
                <c:pt idx="73">
                  <c:v>1</c:v>
                </c:pt>
                <c:pt idx="74">
                  <c:v>1</c:v>
                </c:pt>
                <c:pt idx="75">
                  <c:v>3</c:v>
                </c:pt>
                <c:pt idx="76">
                  <c:v>1</c:v>
                </c:pt>
                <c:pt idx="77">
                  <c:v>0</c:v>
                </c:pt>
                <c:pt idx="78">
                  <c:v>2</c:v>
                </c:pt>
                <c:pt idx="79">
                  <c:v>0</c:v>
                </c:pt>
                <c:pt idx="80">
                  <c:v>0</c:v>
                </c:pt>
                <c:pt idx="81">
                  <c:v>3</c:v>
                </c:pt>
                <c:pt idx="82">
                  <c:v>3</c:v>
                </c:pt>
                <c:pt idx="83">
                  <c:v>0</c:v>
                </c:pt>
                <c:pt idx="84">
                  <c:v>4</c:v>
                </c:pt>
                <c:pt idx="85">
                  <c:v>2</c:v>
                </c:pt>
                <c:pt idx="86">
                  <c:v>0</c:v>
                </c:pt>
                <c:pt idx="87">
                  <c:v>1</c:v>
                </c:pt>
                <c:pt idx="88">
                  <c:v>2</c:v>
                </c:pt>
                <c:pt idx="89">
                  <c:v>1</c:v>
                </c:pt>
                <c:pt idx="90">
                  <c:v>1</c:v>
                </c:pt>
                <c:pt idx="91">
                  <c:v>0</c:v>
                </c:pt>
                <c:pt idx="92">
                  <c:v>3</c:v>
                </c:pt>
                <c:pt idx="93">
                  <c:v>3</c:v>
                </c:pt>
                <c:pt idx="94">
                  <c:v>2</c:v>
                </c:pt>
                <c:pt idx="95">
                  <c:v>3</c:v>
                </c:pt>
                <c:pt idx="96">
                  <c:v>0</c:v>
                </c:pt>
                <c:pt idx="97">
                  <c:v>2</c:v>
                </c:pt>
                <c:pt idx="98">
                  <c:v>6</c:v>
                </c:pt>
                <c:pt idx="99">
                  <c:v>4</c:v>
                </c:pt>
                <c:pt idx="100">
                  <c:v>3</c:v>
                </c:pt>
                <c:pt idx="101">
                  <c:v>9</c:v>
                </c:pt>
                <c:pt idx="102">
                  <c:v>2</c:v>
                </c:pt>
                <c:pt idx="103">
                  <c:v>5</c:v>
                </c:pt>
                <c:pt idx="104">
                  <c:v>1</c:v>
                </c:pt>
                <c:pt idx="105">
                  <c:v>0</c:v>
                </c:pt>
                <c:pt idx="106">
                  <c:v>2</c:v>
                </c:pt>
                <c:pt idx="107">
                  <c:v>5</c:v>
                </c:pt>
                <c:pt idx="108">
                  <c:v>6</c:v>
                </c:pt>
                <c:pt idx="109">
                  <c:v>6</c:v>
                </c:pt>
                <c:pt idx="110">
                  <c:v>1</c:v>
                </c:pt>
                <c:pt idx="111">
                  <c:v>1</c:v>
                </c:pt>
                <c:pt idx="112">
                  <c:v>3</c:v>
                </c:pt>
                <c:pt idx="113">
                  <c:v>10</c:v>
                </c:pt>
                <c:pt idx="114">
                  <c:v>7</c:v>
                </c:pt>
                <c:pt idx="115">
                  <c:v>7</c:v>
                </c:pt>
                <c:pt idx="116">
                  <c:v>6</c:v>
                </c:pt>
                <c:pt idx="117">
                  <c:v>5</c:v>
                </c:pt>
                <c:pt idx="118">
                  <c:v>8</c:v>
                </c:pt>
                <c:pt idx="119">
                  <c:v>17</c:v>
                </c:pt>
                <c:pt idx="120">
                  <c:v>17</c:v>
                </c:pt>
                <c:pt idx="121">
                  <c:v>13</c:v>
                </c:pt>
                <c:pt idx="122">
                  <c:v>13</c:v>
                </c:pt>
                <c:pt idx="123">
                  <c:v>17</c:v>
                </c:pt>
                <c:pt idx="124">
                  <c:v>15</c:v>
                </c:pt>
                <c:pt idx="125">
                  <c:v>12</c:v>
                </c:pt>
                <c:pt idx="126">
                  <c:v>28</c:v>
                </c:pt>
                <c:pt idx="127">
                  <c:v>20</c:v>
                </c:pt>
                <c:pt idx="128">
                  <c:v>25</c:v>
                </c:pt>
                <c:pt idx="129">
                  <c:v>22</c:v>
                </c:pt>
                <c:pt idx="130">
                  <c:v>38</c:v>
                </c:pt>
                <c:pt idx="131">
                  <c:v>22</c:v>
                </c:pt>
                <c:pt idx="132">
                  <c:v>18</c:v>
                </c:pt>
                <c:pt idx="133">
                  <c:v>57</c:v>
                </c:pt>
                <c:pt idx="134">
                  <c:v>38</c:v>
                </c:pt>
                <c:pt idx="135">
                  <c:v>39</c:v>
                </c:pt>
                <c:pt idx="136">
                  <c:v>27</c:v>
                </c:pt>
                <c:pt idx="137">
                  <c:v>41</c:v>
                </c:pt>
                <c:pt idx="138">
                  <c:v>21</c:v>
                </c:pt>
                <c:pt idx="139">
                  <c:v>19</c:v>
                </c:pt>
                <c:pt idx="140">
                  <c:v>53</c:v>
                </c:pt>
                <c:pt idx="141">
                  <c:v>47</c:v>
                </c:pt>
                <c:pt idx="142">
                  <c:v>47</c:v>
                </c:pt>
                <c:pt idx="143">
                  <c:v>49</c:v>
                </c:pt>
                <c:pt idx="144">
                  <c:v>44</c:v>
                </c:pt>
                <c:pt idx="145">
                  <c:v>49</c:v>
                </c:pt>
                <c:pt idx="146">
                  <c:v>23</c:v>
                </c:pt>
                <c:pt idx="147">
                  <c:v>65</c:v>
                </c:pt>
                <c:pt idx="148">
                  <c:v>61</c:v>
                </c:pt>
                <c:pt idx="149">
                  <c:v>43</c:v>
                </c:pt>
                <c:pt idx="150">
                  <c:v>57</c:v>
                </c:pt>
                <c:pt idx="151">
                  <c:v>83</c:v>
                </c:pt>
                <c:pt idx="152">
                  <c:v>51</c:v>
                </c:pt>
                <c:pt idx="153">
                  <c:v>32</c:v>
                </c:pt>
                <c:pt idx="154">
                  <c:v>64</c:v>
                </c:pt>
                <c:pt idx="155">
                  <c:v>71</c:v>
                </c:pt>
                <c:pt idx="156">
                  <c:v>44</c:v>
                </c:pt>
                <c:pt idx="157">
                  <c:v>70</c:v>
                </c:pt>
                <c:pt idx="158">
                  <c:v>54</c:v>
                </c:pt>
                <c:pt idx="159">
                  <c:v>35</c:v>
                </c:pt>
                <c:pt idx="160">
                  <c:v>40</c:v>
                </c:pt>
                <c:pt idx="161">
                  <c:v>64</c:v>
                </c:pt>
                <c:pt idx="162">
                  <c:v>51</c:v>
                </c:pt>
                <c:pt idx="163">
                  <c:v>58</c:v>
                </c:pt>
                <c:pt idx="164">
                  <c:v>45</c:v>
                </c:pt>
                <c:pt idx="165">
                  <c:v>52</c:v>
                </c:pt>
                <c:pt idx="166">
                  <c:v>27</c:v>
                </c:pt>
                <c:pt idx="167">
                  <c:v>17</c:v>
                </c:pt>
                <c:pt idx="168">
                  <c:v>47</c:v>
                </c:pt>
                <c:pt idx="169">
                  <c:v>45</c:v>
                </c:pt>
                <c:pt idx="170">
                  <c:v>31</c:v>
                </c:pt>
                <c:pt idx="171">
                  <c:v>33</c:v>
                </c:pt>
                <c:pt idx="172">
                  <c:v>34</c:v>
                </c:pt>
                <c:pt idx="173">
                  <c:v>21</c:v>
                </c:pt>
                <c:pt idx="174">
                  <c:v>13</c:v>
                </c:pt>
                <c:pt idx="175">
                  <c:v>29</c:v>
                </c:pt>
                <c:pt idx="176">
                  <c:v>25</c:v>
                </c:pt>
                <c:pt idx="177">
                  <c:v>26</c:v>
                </c:pt>
                <c:pt idx="178">
                  <c:v>16</c:v>
                </c:pt>
                <c:pt idx="179">
                  <c:v>25</c:v>
                </c:pt>
                <c:pt idx="180">
                  <c:v>20</c:v>
                </c:pt>
                <c:pt idx="181">
                  <c:v>15</c:v>
                </c:pt>
                <c:pt idx="182">
                  <c:v>27</c:v>
                </c:pt>
                <c:pt idx="183">
                  <c:v>31</c:v>
                </c:pt>
                <c:pt idx="184">
                  <c:v>22</c:v>
                </c:pt>
                <c:pt idx="185">
                  <c:v>25</c:v>
                </c:pt>
                <c:pt idx="186">
                  <c:v>4</c:v>
                </c:pt>
                <c:pt idx="187">
                  <c:v>12</c:v>
                </c:pt>
                <c:pt idx="188">
                  <c:v>8</c:v>
                </c:pt>
                <c:pt idx="189">
                  <c:v>27</c:v>
                </c:pt>
                <c:pt idx="190">
                  <c:v>34</c:v>
                </c:pt>
                <c:pt idx="191">
                  <c:v>27</c:v>
                </c:pt>
                <c:pt idx="192">
                  <c:v>23</c:v>
                </c:pt>
                <c:pt idx="193">
                  <c:v>22</c:v>
                </c:pt>
                <c:pt idx="194">
                  <c:v>6</c:v>
                </c:pt>
                <c:pt idx="195">
                  <c:v>27</c:v>
                </c:pt>
                <c:pt idx="196">
                  <c:v>41</c:v>
                </c:pt>
                <c:pt idx="197">
                  <c:v>31</c:v>
                </c:pt>
                <c:pt idx="198">
                  <c:v>21</c:v>
                </c:pt>
                <c:pt idx="199">
                  <c:v>26</c:v>
                </c:pt>
                <c:pt idx="200">
                  <c:v>20</c:v>
                </c:pt>
                <c:pt idx="201">
                  <c:v>18</c:v>
                </c:pt>
                <c:pt idx="202">
                  <c:v>16</c:v>
                </c:pt>
                <c:pt idx="203">
                  <c:v>38</c:v>
                </c:pt>
                <c:pt idx="204">
                  <c:v>52</c:v>
                </c:pt>
                <c:pt idx="205">
                  <c:v>80</c:v>
                </c:pt>
                <c:pt idx="206">
                  <c:v>46</c:v>
                </c:pt>
                <c:pt idx="207">
                  <c:v>58</c:v>
                </c:pt>
                <c:pt idx="208">
                  <c:v>41</c:v>
                </c:pt>
                <c:pt idx="209">
                  <c:v>53</c:v>
                </c:pt>
                <c:pt idx="210">
                  <c:v>132</c:v>
                </c:pt>
                <c:pt idx="211">
                  <c:v>112</c:v>
                </c:pt>
                <c:pt idx="212">
                  <c:v>149</c:v>
                </c:pt>
                <c:pt idx="213">
                  <c:v>128</c:v>
                </c:pt>
                <c:pt idx="214">
                  <c:v>107</c:v>
                </c:pt>
                <c:pt idx="215">
                  <c:v>68</c:v>
                </c:pt>
                <c:pt idx="216">
                  <c:v>94</c:v>
                </c:pt>
                <c:pt idx="217">
                  <c:v>203</c:v>
                </c:pt>
                <c:pt idx="218">
                  <c:v>175</c:v>
                </c:pt>
                <c:pt idx="219">
                  <c:v>184</c:v>
                </c:pt>
                <c:pt idx="220">
                  <c:v>211</c:v>
                </c:pt>
                <c:pt idx="221">
                  <c:v>195</c:v>
                </c:pt>
                <c:pt idx="222">
                  <c:v>75</c:v>
                </c:pt>
                <c:pt idx="223">
                  <c:v>120</c:v>
                </c:pt>
                <c:pt idx="224">
                  <c:v>216</c:v>
                </c:pt>
                <c:pt idx="225">
                  <c:v>240</c:v>
                </c:pt>
                <c:pt idx="226">
                  <c:v>180</c:v>
                </c:pt>
                <c:pt idx="227">
                  <c:v>146</c:v>
                </c:pt>
                <c:pt idx="228">
                  <c:v>150</c:v>
                </c:pt>
                <c:pt idx="229">
                  <c:v>90</c:v>
                </c:pt>
                <c:pt idx="230">
                  <c:v>65</c:v>
                </c:pt>
                <c:pt idx="231">
                  <c:v>167</c:v>
                </c:pt>
                <c:pt idx="232">
                  <c:v>139</c:v>
                </c:pt>
                <c:pt idx="233">
                  <c:v>123</c:v>
                </c:pt>
                <c:pt idx="234">
                  <c:v>114</c:v>
                </c:pt>
                <c:pt idx="235">
                  <c:v>108</c:v>
                </c:pt>
                <c:pt idx="236">
                  <c:v>55</c:v>
                </c:pt>
                <c:pt idx="237">
                  <c:v>53</c:v>
                </c:pt>
                <c:pt idx="238">
                  <c:v>163</c:v>
                </c:pt>
                <c:pt idx="239">
                  <c:v>102</c:v>
                </c:pt>
                <c:pt idx="240">
                  <c:v>94</c:v>
                </c:pt>
                <c:pt idx="241">
                  <c:v>75</c:v>
                </c:pt>
                <c:pt idx="242">
                  <c:v>74</c:v>
                </c:pt>
                <c:pt idx="243">
                  <c:v>45</c:v>
                </c:pt>
                <c:pt idx="244">
                  <c:v>46</c:v>
                </c:pt>
                <c:pt idx="245">
                  <c:v>85</c:v>
                </c:pt>
                <c:pt idx="246">
                  <c:v>68</c:v>
                </c:pt>
                <c:pt idx="247">
                  <c:v>62</c:v>
                </c:pt>
                <c:pt idx="248">
                  <c:v>57</c:v>
                </c:pt>
                <c:pt idx="249">
                  <c:v>48</c:v>
                </c:pt>
                <c:pt idx="250">
                  <c:v>33</c:v>
                </c:pt>
                <c:pt idx="251">
                  <c:v>36</c:v>
                </c:pt>
                <c:pt idx="252">
                  <c:v>86</c:v>
                </c:pt>
                <c:pt idx="253">
                  <c:v>54</c:v>
                </c:pt>
                <c:pt idx="254">
                  <c:v>64</c:v>
                </c:pt>
                <c:pt idx="255">
                  <c:v>48</c:v>
                </c:pt>
                <c:pt idx="256">
                  <c:v>5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8C7-4733-952F-D247528AD3F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dateAx>
        <c:axId val="417147840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1"/>
        <c:majorTimeUnit val="days"/>
      </c:dateAx>
      <c:valAx>
        <c:axId val="419321824"/>
        <c:scaling>
          <c:orientation val="minMax"/>
          <c:min val="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519856463840257E-2"/>
          <c:y val="1.7338673528478215E-2"/>
          <c:w val="0.80334957098880577"/>
          <c:h val="0.7587762916834988"/>
        </c:manualLayout>
      </c:layout>
      <c:lineChart>
        <c:grouping val="standar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2020</c:v>
                </c:pt>
              </c:strCache>
            </c:strRef>
          </c:tx>
          <c:spPr>
            <a:ln w="28575" cap="rnd">
              <a:solidFill>
                <a:srgbClr val="00B0F0"/>
              </a:solidFill>
              <a:prstDash val="sysDash"/>
              <a:round/>
            </a:ln>
            <a:effectLst/>
          </c:spPr>
          <c:marker>
            <c:symbol val="none"/>
          </c:marker>
          <c:cat>
            <c:strRef>
              <c:f>List1!$B$1:$BB$1</c:f>
              <c:strCache>
                <c:ptCount val="53"/>
                <c:pt idx="0">
                  <c:v>01.01 - 07.01</c:v>
                </c:pt>
                <c:pt idx="1">
                  <c:v>08.01 - 14.01</c:v>
                </c:pt>
                <c:pt idx="2">
                  <c:v>15.01 - 21.01</c:v>
                </c:pt>
                <c:pt idx="3">
                  <c:v>22.01 - 28.01</c:v>
                </c:pt>
                <c:pt idx="4">
                  <c:v>29.01 - 04.02</c:v>
                </c:pt>
                <c:pt idx="5">
                  <c:v>05.02 - 11.02</c:v>
                </c:pt>
                <c:pt idx="6">
                  <c:v>12.02 - 18.02</c:v>
                </c:pt>
                <c:pt idx="7">
                  <c:v>19.02 - 25.02</c:v>
                </c:pt>
                <c:pt idx="8">
                  <c:v>26.02 - 04.03</c:v>
                </c:pt>
                <c:pt idx="9">
                  <c:v>05.03 - 10.03</c:v>
                </c:pt>
                <c:pt idx="10">
                  <c:v>11.03 - 17.03</c:v>
                </c:pt>
                <c:pt idx="11">
                  <c:v>18.03 - 24.03</c:v>
                </c:pt>
                <c:pt idx="12">
                  <c:v>25.03 - 31.03</c:v>
                </c:pt>
                <c:pt idx="13">
                  <c:v>01.04 - 07.04</c:v>
                </c:pt>
                <c:pt idx="14">
                  <c:v>08.04 - 14.04</c:v>
                </c:pt>
                <c:pt idx="15">
                  <c:v>15.04 - 21.04</c:v>
                </c:pt>
                <c:pt idx="16">
                  <c:v>22.04 - 28.04</c:v>
                </c:pt>
                <c:pt idx="17">
                  <c:v>29.04 - 05.05</c:v>
                </c:pt>
                <c:pt idx="18">
                  <c:v>06.05 - 12.05</c:v>
                </c:pt>
                <c:pt idx="19">
                  <c:v>13.05 - 19.05</c:v>
                </c:pt>
                <c:pt idx="20">
                  <c:v>20.05 - 26.05</c:v>
                </c:pt>
                <c:pt idx="21">
                  <c:v>27.05 - 02.06</c:v>
                </c:pt>
                <c:pt idx="22">
                  <c:v>03.06 - 09.06</c:v>
                </c:pt>
                <c:pt idx="23">
                  <c:v>10.06 - 16.06</c:v>
                </c:pt>
                <c:pt idx="24">
                  <c:v>17.06 - 23.06</c:v>
                </c:pt>
                <c:pt idx="25">
                  <c:v>24.06 - 30.06</c:v>
                </c:pt>
                <c:pt idx="26">
                  <c:v>01.07 - 07.07</c:v>
                </c:pt>
                <c:pt idx="27">
                  <c:v>08.07 - 14.07</c:v>
                </c:pt>
                <c:pt idx="28">
                  <c:v>15.07 - 21.07</c:v>
                </c:pt>
                <c:pt idx="29">
                  <c:v>22.07 - 28.07</c:v>
                </c:pt>
                <c:pt idx="30">
                  <c:v>29.07 - 04.08</c:v>
                </c:pt>
                <c:pt idx="31">
                  <c:v>05.08 - 11.08</c:v>
                </c:pt>
                <c:pt idx="32">
                  <c:v>12.08 - 18.08</c:v>
                </c:pt>
                <c:pt idx="33">
                  <c:v>19.08 - 25.08</c:v>
                </c:pt>
                <c:pt idx="34">
                  <c:v>26.08 - 01.09</c:v>
                </c:pt>
                <c:pt idx="35">
                  <c:v>02.09 - 08.09</c:v>
                </c:pt>
                <c:pt idx="36">
                  <c:v>09.09 - 15.09</c:v>
                </c:pt>
                <c:pt idx="37">
                  <c:v>16.09 - 22.09</c:v>
                </c:pt>
                <c:pt idx="38">
                  <c:v>23.09 - 29.09</c:v>
                </c:pt>
                <c:pt idx="39">
                  <c:v>30.09 - 06.10</c:v>
                </c:pt>
                <c:pt idx="40">
                  <c:v>07.10 - 13.10</c:v>
                </c:pt>
                <c:pt idx="41">
                  <c:v>14.10 - 20.10</c:v>
                </c:pt>
                <c:pt idx="42">
                  <c:v>21.10 - 27.10</c:v>
                </c:pt>
                <c:pt idx="43">
                  <c:v>28.10 - 03.11</c:v>
                </c:pt>
                <c:pt idx="44">
                  <c:v>04.11 - 10.11</c:v>
                </c:pt>
                <c:pt idx="45">
                  <c:v>11.11 - 17.11</c:v>
                </c:pt>
                <c:pt idx="46">
                  <c:v>18.11 - 24.11</c:v>
                </c:pt>
                <c:pt idx="47">
                  <c:v>25.11 - 01.12</c:v>
                </c:pt>
                <c:pt idx="48">
                  <c:v>02.12 - 08.12</c:v>
                </c:pt>
                <c:pt idx="49">
                  <c:v>09.12 - 15.12</c:v>
                </c:pt>
                <c:pt idx="50">
                  <c:v>16.12 - 22.12</c:v>
                </c:pt>
                <c:pt idx="51">
                  <c:v>23.12 - 29.12</c:v>
                </c:pt>
                <c:pt idx="52">
                  <c:v>30.12 - 31.12</c:v>
                </c:pt>
              </c:strCache>
            </c:strRef>
          </c:cat>
          <c:val>
            <c:numRef>
              <c:f>List1!$B$2:$BB$2</c:f>
              <c:numCache>
                <c:formatCode>General</c:formatCode>
                <c:ptCount val="53"/>
                <c:pt idx="9">
                  <c:v>0.65883959999999997</c:v>
                </c:pt>
                <c:pt idx="10">
                  <c:v>2.2588788000000002</c:v>
                </c:pt>
                <c:pt idx="11">
                  <c:v>9.6002349000000002</c:v>
                </c:pt>
                <c:pt idx="12">
                  <c:v>13.8356326</c:v>
                </c:pt>
                <c:pt idx="13">
                  <c:v>8.4726853999999996</c:v>
                </c:pt>
                <c:pt idx="14">
                  <c:v>4.5204380000000004</c:v>
                </c:pt>
                <c:pt idx="15">
                  <c:v>6.5005354999999998</c:v>
                </c:pt>
                <c:pt idx="16">
                  <c:v>3.3928303</c:v>
                </c:pt>
                <c:pt idx="17">
                  <c:v>1.9798395</c:v>
                </c:pt>
                <c:pt idx="18">
                  <c:v>2.2630385999999998</c:v>
                </c:pt>
                <c:pt idx="19">
                  <c:v>0.84876669999999999</c:v>
                </c:pt>
                <c:pt idx="20">
                  <c:v>0.56592770000000003</c:v>
                </c:pt>
                <c:pt idx="21">
                  <c:v>1.4150155</c:v>
                </c:pt>
                <c:pt idx="22">
                  <c:v>1.1321437999999999</c:v>
                </c:pt>
                <c:pt idx="23">
                  <c:v>0.84919679999999997</c:v>
                </c:pt>
                <c:pt idx="24">
                  <c:v>1.4154762000000001</c:v>
                </c:pt>
                <c:pt idx="25">
                  <c:v>1.1324964</c:v>
                </c:pt>
                <c:pt idx="26">
                  <c:v>1.1325509</c:v>
                </c:pt>
                <c:pt idx="27">
                  <c:v>1.1325284</c:v>
                </c:pt>
                <c:pt idx="28">
                  <c:v>1.6987638</c:v>
                </c:pt>
                <c:pt idx="29">
                  <c:v>2.5481025000000002</c:v>
                </c:pt>
                <c:pt idx="30">
                  <c:v>4.2463205000000004</c:v>
                </c:pt>
                <c:pt idx="31">
                  <c:v>3.3953935</c:v>
                </c:pt>
                <c:pt idx="32">
                  <c:v>7.0700156999999999</c:v>
                </c:pt>
                <c:pt idx="33">
                  <c:v>6.7836660000000002</c:v>
                </c:pt>
                <c:pt idx="34">
                  <c:v>8.1922986000000009</c:v>
                </c:pt>
                <c:pt idx="35">
                  <c:v>16.353598600000002</c:v>
                </c:pt>
                <c:pt idx="36">
                  <c:v>30.657246300000001</c:v>
                </c:pt>
                <c:pt idx="37">
                  <c:v>49.378143899999998</c:v>
                </c:pt>
                <c:pt idx="38">
                  <c:v>52.054909500000001</c:v>
                </c:pt>
                <c:pt idx="39">
                  <c:v>98.306173400000006</c:v>
                </c:pt>
                <c:pt idx="40">
                  <c:v>188.8950892</c:v>
                </c:pt>
                <c:pt idx="41">
                  <c:v>272.91709059999999</c:v>
                </c:pt>
                <c:pt idx="42">
                  <c:v>318.63455060000001</c:v>
                </c:pt>
                <c:pt idx="43">
                  <c:v>202.6021011</c:v>
                </c:pt>
                <c:pt idx="44">
                  <c:v>147.43969569999999</c:v>
                </c:pt>
                <c:pt idx="45">
                  <c:v>92.048766299999997</c:v>
                </c:pt>
                <c:pt idx="46">
                  <c:v>92.295545899999993</c:v>
                </c:pt>
                <c:pt idx="47">
                  <c:v>90.596323900000002</c:v>
                </c:pt>
                <c:pt idx="48">
                  <c:v>111.6837294</c:v>
                </c:pt>
                <c:pt idx="49">
                  <c:v>136.1012815</c:v>
                </c:pt>
                <c:pt idx="50">
                  <c:v>178.5585355</c:v>
                </c:pt>
                <c:pt idx="51">
                  <c:v>197.39746289999999</c:v>
                </c:pt>
                <c:pt idx="52">
                  <c:v>221.518372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3549-4946-8B42-18535E623485}"/>
            </c:ext>
          </c:extLst>
        </c:ser>
        <c:ser>
          <c:idx val="1"/>
          <c:order val="1"/>
          <c:tx>
            <c:strRef>
              <c:f>List1!$A$3</c:f>
              <c:strCache>
                <c:ptCount val="1"/>
                <c:pt idx="0">
                  <c:v>2021</c:v>
                </c:pt>
              </c:strCache>
            </c:strRef>
          </c:tx>
          <c:spPr>
            <a:ln w="28575" cap="rnd">
              <a:solidFill>
                <a:srgbClr val="00B050"/>
              </a:solidFill>
              <a:round/>
            </a:ln>
            <a:effectLst/>
          </c:spPr>
          <c:marker>
            <c:symbol val="none"/>
          </c:marker>
          <c:cat>
            <c:strRef>
              <c:f>List1!$B$1:$BB$1</c:f>
              <c:strCache>
                <c:ptCount val="53"/>
                <c:pt idx="0">
                  <c:v>01.01 - 07.01</c:v>
                </c:pt>
                <c:pt idx="1">
                  <c:v>08.01 - 14.01</c:v>
                </c:pt>
                <c:pt idx="2">
                  <c:v>15.01 - 21.01</c:v>
                </c:pt>
                <c:pt idx="3">
                  <c:v>22.01 - 28.01</c:v>
                </c:pt>
                <c:pt idx="4">
                  <c:v>29.01 - 04.02</c:v>
                </c:pt>
                <c:pt idx="5">
                  <c:v>05.02 - 11.02</c:v>
                </c:pt>
                <c:pt idx="6">
                  <c:v>12.02 - 18.02</c:v>
                </c:pt>
                <c:pt idx="7">
                  <c:v>19.02 - 25.02</c:v>
                </c:pt>
                <c:pt idx="8">
                  <c:v>26.02 - 04.03</c:v>
                </c:pt>
                <c:pt idx="9">
                  <c:v>05.03 - 10.03</c:v>
                </c:pt>
                <c:pt idx="10">
                  <c:v>11.03 - 17.03</c:v>
                </c:pt>
                <c:pt idx="11">
                  <c:v>18.03 - 24.03</c:v>
                </c:pt>
                <c:pt idx="12">
                  <c:v>25.03 - 31.03</c:v>
                </c:pt>
                <c:pt idx="13">
                  <c:v>01.04 - 07.04</c:v>
                </c:pt>
                <c:pt idx="14">
                  <c:v>08.04 - 14.04</c:v>
                </c:pt>
                <c:pt idx="15">
                  <c:v>15.04 - 21.04</c:v>
                </c:pt>
                <c:pt idx="16">
                  <c:v>22.04 - 28.04</c:v>
                </c:pt>
                <c:pt idx="17">
                  <c:v>29.04 - 05.05</c:v>
                </c:pt>
                <c:pt idx="18">
                  <c:v>06.05 - 12.05</c:v>
                </c:pt>
                <c:pt idx="19">
                  <c:v>13.05 - 19.05</c:v>
                </c:pt>
                <c:pt idx="20">
                  <c:v>20.05 - 26.05</c:v>
                </c:pt>
                <c:pt idx="21">
                  <c:v>27.05 - 02.06</c:v>
                </c:pt>
                <c:pt idx="22">
                  <c:v>03.06 - 09.06</c:v>
                </c:pt>
                <c:pt idx="23">
                  <c:v>10.06 - 16.06</c:v>
                </c:pt>
                <c:pt idx="24">
                  <c:v>17.06 - 23.06</c:v>
                </c:pt>
                <c:pt idx="25">
                  <c:v>24.06 - 30.06</c:v>
                </c:pt>
                <c:pt idx="26">
                  <c:v>01.07 - 07.07</c:v>
                </c:pt>
                <c:pt idx="27">
                  <c:v>08.07 - 14.07</c:v>
                </c:pt>
                <c:pt idx="28">
                  <c:v>15.07 - 21.07</c:v>
                </c:pt>
                <c:pt idx="29">
                  <c:v>22.07 - 28.07</c:v>
                </c:pt>
                <c:pt idx="30">
                  <c:v>29.07 - 04.08</c:v>
                </c:pt>
                <c:pt idx="31">
                  <c:v>05.08 - 11.08</c:v>
                </c:pt>
                <c:pt idx="32">
                  <c:v>12.08 - 18.08</c:v>
                </c:pt>
                <c:pt idx="33">
                  <c:v>19.08 - 25.08</c:v>
                </c:pt>
                <c:pt idx="34">
                  <c:v>26.08 - 01.09</c:v>
                </c:pt>
                <c:pt idx="35">
                  <c:v>02.09 - 08.09</c:v>
                </c:pt>
                <c:pt idx="36">
                  <c:v>09.09 - 15.09</c:v>
                </c:pt>
                <c:pt idx="37">
                  <c:v>16.09 - 22.09</c:v>
                </c:pt>
                <c:pt idx="38">
                  <c:v>23.09 - 29.09</c:v>
                </c:pt>
                <c:pt idx="39">
                  <c:v>30.09 - 06.10</c:v>
                </c:pt>
                <c:pt idx="40">
                  <c:v>07.10 - 13.10</c:v>
                </c:pt>
                <c:pt idx="41">
                  <c:v>14.10 - 20.10</c:v>
                </c:pt>
                <c:pt idx="42">
                  <c:v>21.10 - 27.10</c:v>
                </c:pt>
                <c:pt idx="43">
                  <c:v>28.10 - 03.11</c:v>
                </c:pt>
                <c:pt idx="44">
                  <c:v>04.11 - 10.11</c:v>
                </c:pt>
                <c:pt idx="45">
                  <c:v>11.11 - 17.11</c:v>
                </c:pt>
                <c:pt idx="46">
                  <c:v>18.11 - 24.11</c:v>
                </c:pt>
                <c:pt idx="47">
                  <c:v>25.11 - 01.12</c:v>
                </c:pt>
                <c:pt idx="48">
                  <c:v>02.12 - 08.12</c:v>
                </c:pt>
                <c:pt idx="49">
                  <c:v>09.12 - 15.12</c:v>
                </c:pt>
                <c:pt idx="50">
                  <c:v>16.12 - 22.12</c:v>
                </c:pt>
                <c:pt idx="51">
                  <c:v>23.12 - 29.12</c:v>
                </c:pt>
                <c:pt idx="52">
                  <c:v>30.12 - 31.12</c:v>
                </c:pt>
              </c:strCache>
            </c:strRef>
          </c:cat>
          <c:val>
            <c:numRef>
              <c:f>List1!$B$3:$BB$3</c:f>
              <c:numCache>
                <c:formatCode>General</c:formatCode>
                <c:ptCount val="53"/>
                <c:pt idx="0">
                  <c:v>179.9320256</c:v>
                </c:pt>
                <c:pt idx="1">
                  <c:v>126.6877812</c:v>
                </c:pt>
                <c:pt idx="2">
                  <c:v>104.5170257</c:v>
                </c:pt>
                <c:pt idx="3">
                  <c:v>76.205309299999996</c:v>
                </c:pt>
                <c:pt idx="4">
                  <c:v>58.991468400000002</c:v>
                </c:pt>
                <c:pt idx="5">
                  <c:v>44.8185821</c:v>
                </c:pt>
                <c:pt idx="6">
                  <c:v>40.102260700000002</c:v>
                </c:pt>
                <c:pt idx="7">
                  <c:v>48.197604599999998</c:v>
                </c:pt>
                <c:pt idx="8">
                  <c:v>56.857613399999998</c:v>
                </c:pt>
                <c:pt idx="9">
                  <c:v>34.149117799999999</c:v>
                </c:pt>
                <c:pt idx="10">
                  <c:v>29.551651199999998</c:v>
                </c:pt>
                <c:pt idx="11">
                  <c:v>20.353367899999999</c:v>
                </c:pt>
                <c:pt idx="12">
                  <c:v>17.287819800000001</c:v>
                </c:pt>
                <c:pt idx="13">
                  <c:v>10.3158604</c:v>
                </c:pt>
                <c:pt idx="14">
                  <c:v>8.0833983000000007</c:v>
                </c:pt>
                <c:pt idx="15">
                  <c:v>9.1960940999999998</c:v>
                </c:pt>
                <c:pt idx="16">
                  <c:v>6.4078274999999998</c:v>
                </c:pt>
                <c:pt idx="17">
                  <c:v>6.9640598000000002</c:v>
                </c:pt>
                <c:pt idx="18">
                  <c:v>1.6716816999999999</c:v>
                </c:pt>
                <c:pt idx="19">
                  <c:v>4.1800661000000003</c:v>
                </c:pt>
                <c:pt idx="20">
                  <c:v>2.5085499000000002</c:v>
                </c:pt>
                <c:pt idx="21">
                  <c:v>2.5090604000000001</c:v>
                </c:pt>
                <c:pt idx="22">
                  <c:v>0.55769639999999998</c:v>
                </c:pt>
                <c:pt idx="23">
                  <c:v>0.27891510000000003</c:v>
                </c:pt>
                <c:pt idx="24">
                  <c:v>0.27898200000000001</c:v>
                </c:pt>
                <c:pt idx="25">
                  <c:v>0</c:v>
                </c:pt>
                <c:pt idx="26">
                  <c:v>0.55804659999999995</c:v>
                </c:pt>
                <c:pt idx="27">
                  <c:v>1.39456</c:v>
                </c:pt>
                <c:pt idx="28">
                  <c:v>3.3456098000000001</c:v>
                </c:pt>
                <c:pt idx="29">
                  <c:v>2.7869126</c:v>
                </c:pt>
                <c:pt idx="30">
                  <c:v>2.7857248000000001</c:v>
                </c:pt>
                <c:pt idx="31">
                  <c:v>2.7842589000000002</c:v>
                </c:pt>
                <c:pt idx="32">
                  <c:v>1.3913933000000001</c:v>
                </c:pt>
                <c:pt idx="33">
                  <c:v>1.3906542</c:v>
                </c:pt>
                <c:pt idx="34">
                  <c:v>3.0576873999999998</c:v>
                </c:pt>
                <c:pt idx="35">
                  <c:v>2.2199836999999998</c:v>
                </c:pt>
                <c:pt idx="36">
                  <c:v>3.3225718</c:v>
                </c:pt>
                <c:pt idx="37">
                  <c:v>3.0389341999999999</c:v>
                </c:pt>
                <c:pt idx="38">
                  <c:v>5.5131046000000001</c:v>
                </c:pt>
                <c:pt idx="39">
                  <c:v>6.6050924999999996</c:v>
                </c:pt>
                <c:pt idx="40">
                  <c:v>9.3551032000000003</c:v>
                </c:pt>
                <c:pt idx="41">
                  <c:v>19.8072643</c:v>
                </c:pt>
                <c:pt idx="42">
                  <c:v>34.931567100000002</c:v>
                </c:pt>
                <c:pt idx="43">
                  <c:v>62.428495900000001</c:v>
                </c:pt>
                <c:pt idx="44">
                  <c:v>69.040067899999997</c:v>
                </c:pt>
                <c:pt idx="45">
                  <c:v>88.587118000000004</c:v>
                </c:pt>
                <c:pt idx="46">
                  <c:v>104.2899204</c:v>
                </c:pt>
                <c:pt idx="47">
                  <c:v>95.779640700000002</c:v>
                </c:pt>
                <c:pt idx="48">
                  <c:v>67.179136999999997</c:v>
                </c:pt>
                <c:pt idx="49">
                  <c:v>46.822539800000001</c:v>
                </c:pt>
                <c:pt idx="50">
                  <c:v>40.502673999999999</c:v>
                </c:pt>
                <c:pt idx="51">
                  <c:v>34.729495800000002</c:v>
                </c:pt>
                <c:pt idx="52">
                  <c:v>37.63243719999999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3549-4946-8B42-18535E623485}"/>
            </c:ext>
          </c:extLst>
        </c:ser>
        <c:ser>
          <c:idx val="2"/>
          <c:order val="2"/>
          <c:tx>
            <c:strRef>
              <c:f>List1!$A$4</c:f>
              <c:strCache>
                <c:ptCount val="1"/>
                <c:pt idx="0">
                  <c:v>2022</c:v>
                </c:pt>
              </c:strCache>
            </c:strRef>
          </c:tx>
          <c:spPr>
            <a:ln w="28575" cap="flat">
              <a:solidFill>
                <a:srgbClr val="FFC000"/>
              </a:solidFill>
              <a:prstDash val="solid"/>
              <a:round/>
              <a:headEnd type="none"/>
            </a:ln>
            <a:effectLst/>
          </c:spPr>
          <c:marker>
            <c:symbol val="none"/>
          </c:marker>
          <c:dPt>
            <c:idx val="1"/>
            <c:marker>
              <c:symbol val="none"/>
            </c:marker>
            <c:bubble3D val="0"/>
            <c:extLst>
              <c:ext xmlns:c16="http://schemas.microsoft.com/office/drawing/2014/chart" uri="{C3380CC4-5D6E-409C-BE32-E72D297353CC}">
                <c16:uniqueId val="{00000001-60B6-4916-93FC-CDB9D95E3532}"/>
              </c:ext>
            </c:extLst>
          </c:dPt>
          <c:cat>
            <c:strRef>
              <c:f>List1!$B$1:$BB$1</c:f>
              <c:strCache>
                <c:ptCount val="53"/>
                <c:pt idx="0">
                  <c:v>01.01 - 07.01</c:v>
                </c:pt>
                <c:pt idx="1">
                  <c:v>08.01 - 14.01</c:v>
                </c:pt>
                <c:pt idx="2">
                  <c:v>15.01 - 21.01</c:v>
                </c:pt>
                <c:pt idx="3">
                  <c:v>22.01 - 28.01</c:v>
                </c:pt>
                <c:pt idx="4">
                  <c:v>29.01 - 04.02</c:v>
                </c:pt>
                <c:pt idx="5">
                  <c:v>05.02 - 11.02</c:v>
                </c:pt>
                <c:pt idx="6">
                  <c:v>12.02 - 18.02</c:v>
                </c:pt>
                <c:pt idx="7">
                  <c:v>19.02 - 25.02</c:v>
                </c:pt>
                <c:pt idx="8">
                  <c:v>26.02 - 04.03</c:v>
                </c:pt>
                <c:pt idx="9">
                  <c:v>05.03 - 10.03</c:v>
                </c:pt>
                <c:pt idx="10">
                  <c:v>11.03 - 17.03</c:v>
                </c:pt>
                <c:pt idx="11">
                  <c:v>18.03 - 24.03</c:v>
                </c:pt>
                <c:pt idx="12">
                  <c:v>25.03 - 31.03</c:v>
                </c:pt>
                <c:pt idx="13">
                  <c:v>01.04 - 07.04</c:v>
                </c:pt>
                <c:pt idx="14">
                  <c:v>08.04 - 14.04</c:v>
                </c:pt>
                <c:pt idx="15">
                  <c:v>15.04 - 21.04</c:v>
                </c:pt>
                <c:pt idx="16">
                  <c:v>22.04 - 28.04</c:v>
                </c:pt>
                <c:pt idx="17">
                  <c:v>29.04 - 05.05</c:v>
                </c:pt>
                <c:pt idx="18">
                  <c:v>06.05 - 12.05</c:v>
                </c:pt>
                <c:pt idx="19">
                  <c:v>13.05 - 19.05</c:v>
                </c:pt>
                <c:pt idx="20">
                  <c:v>20.05 - 26.05</c:v>
                </c:pt>
                <c:pt idx="21">
                  <c:v>27.05 - 02.06</c:v>
                </c:pt>
                <c:pt idx="22">
                  <c:v>03.06 - 09.06</c:v>
                </c:pt>
                <c:pt idx="23">
                  <c:v>10.06 - 16.06</c:v>
                </c:pt>
                <c:pt idx="24">
                  <c:v>17.06 - 23.06</c:v>
                </c:pt>
                <c:pt idx="25">
                  <c:v>24.06 - 30.06</c:v>
                </c:pt>
                <c:pt idx="26">
                  <c:v>01.07 - 07.07</c:v>
                </c:pt>
                <c:pt idx="27">
                  <c:v>08.07 - 14.07</c:v>
                </c:pt>
                <c:pt idx="28">
                  <c:v>15.07 - 21.07</c:v>
                </c:pt>
                <c:pt idx="29">
                  <c:v>22.07 - 28.07</c:v>
                </c:pt>
                <c:pt idx="30">
                  <c:v>29.07 - 04.08</c:v>
                </c:pt>
                <c:pt idx="31">
                  <c:v>05.08 - 11.08</c:v>
                </c:pt>
                <c:pt idx="32">
                  <c:v>12.08 - 18.08</c:v>
                </c:pt>
                <c:pt idx="33">
                  <c:v>19.08 - 25.08</c:v>
                </c:pt>
                <c:pt idx="34">
                  <c:v>26.08 - 01.09</c:v>
                </c:pt>
                <c:pt idx="35">
                  <c:v>02.09 - 08.09</c:v>
                </c:pt>
                <c:pt idx="36">
                  <c:v>09.09 - 15.09</c:v>
                </c:pt>
                <c:pt idx="37">
                  <c:v>16.09 - 22.09</c:v>
                </c:pt>
                <c:pt idx="38">
                  <c:v>23.09 - 29.09</c:v>
                </c:pt>
                <c:pt idx="39">
                  <c:v>30.09 - 06.10</c:v>
                </c:pt>
                <c:pt idx="40">
                  <c:v>07.10 - 13.10</c:v>
                </c:pt>
                <c:pt idx="41">
                  <c:v>14.10 - 20.10</c:v>
                </c:pt>
                <c:pt idx="42">
                  <c:v>21.10 - 27.10</c:v>
                </c:pt>
                <c:pt idx="43">
                  <c:v>28.10 - 03.11</c:v>
                </c:pt>
                <c:pt idx="44">
                  <c:v>04.11 - 10.11</c:v>
                </c:pt>
                <c:pt idx="45">
                  <c:v>11.11 - 17.11</c:v>
                </c:pt>
                <c:pt idx="46">
                  <c:v>18.11 - 24.11</c:v>
                </c:pt>
                <c:pt idx="47">
                  <c:v>25.11 - 01.12</c:v>
                </c:pt>
                <c:pt idx="48">
                  <c:v>02.12 - 08.12</c:v>
                </c:pt>
                <c:pt idx="49">
                  <c:v>09.12 - 15.12</c:v>
                </c:pt>
                <c:pt idx="50">
                  <c:v>16.12 - 22.12</c:v>
                </c:pt>
                <c:pt idx="51">
                  <c:v>23.12 - 29.12</c:v>
                </c:pt>
                <c:pt idx="52">
                  <c:v>30.12 - 31.12</c:v>
                </c:pt>
              </c:strCache>
            </c:strRef>
          </c:cat>
          <c:val>
            <c:numRef>
              <c:f>List1!$B$4:$BB$4</c:f>
              <c:numCache>
                <c:formatCode>General</c:formatCode>
                <c:ptCount val="53"/>
                <c:pt idx="0">
                  <c:v>41.938554400000001</c:v>
                </c:pt>
                <c:pt idx="1">
                  <c:v>72.108211999999995</c:v>
                </c:pt>
                <c:pt idx="2">
                  <c:v>159.34623769999999</c:v>
                </c:pt>
                <c:pt idx="3">
                  <c:v>247.64680129999999</c:v>
                </c:pt>
                <c:pt idx="4">
                  <c:v>247.93457179999999</c:v>
                </c:pt>
                <c:pt idx="5">
                  <c:v>174.5418622</c:v>
                </c:pt>
                <c:pt idx="6">
                  <c:v>134.9310352</c:v>
                </c:pt>
                <c:pt idx="7">
                  <c:v>87.778509200000002</c:v>
                </c:pt>
                <c:pt idx="8">
                  <c:v>84.21251569999999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3549-4946-8B42-18535E62348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88445264"/>
        <c:axId val="494149648"/>
      </c:line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tickLblSkip val="1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  <c:majorUnit val="50"/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87596356464825076"/>
          <c:y val="0.27782564669163051"/>
          <c:w val="7.847404993676986E-2"/>
          <c:h val="0.16275051734771301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65896097904626E-2"/>
          <c:y val="0.11530977652557951"/>
          <c:w val="0.91692139603581668"/>
          <c:h val="0.71344666460445894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135:$A$384</c:f>
              <c:numCache>
                <c:formatCode>m/d/yyyy</c:formatCode>
                <c:ptCount val="250"/>
                <c:pt idx="0">
                  <c:v>44364</c:v>
                </c:pt>
                <c:pt idx="1">
                  <c:v>44365</c:v>
                </c:pt>
                <c:pt idx="2">
                  <c:v>44366</c:v>
                </c:pt>
                <c:pt idx="3">
                  <c:v>44367</c:v>
                </c:pt>
                <c:pt idx="4">
                  <c:v>44369</c:v>
                </c:pt>
                <c:pt idx="5">
                  <c:v>44370</c:v>
                </c:pt>
                <c:pt idx="6">
                  <c:v>44371</c:v>
                </c:pt>
                <c:pt idx="7">
                  <c:v>44373</c:v>
                </c:pt>
                <c:pt idx="8">
                  <c:v>44374</c:v>
                </c:pt>
                <c:pt idx="9">
                  <c:v>44375</c:v>
                </c:pt>
                <c:pt idx="10">
                  <c:v>44376</c:v>
                </c:pt>
                <c:pt idx="11">
                  <c:v>44378</c:v>
                </c:pt>
                <c:pt idx="12">
                  <c:v>44379</c:v>
                </c:pt>
                <c:pt idx="13">
                  <c:v>44381</c:v>
                </c:pt>
                <c:pt idx="14">
                  <c:v>44382</c:v>
                </c:pt>
                <c:pt idx="15">
                  <c:v>44383</c:v>
                </c:pt>
                <c:pt idx="16">
                  <c:v>44384</c:v>
                </c:pt>
                <c:pt idx="17">
                  <c:v>44385</c:v>
                </c:pt>
                <c:pt idx="18">
                  <c:v>44386</c:v>
                </c:pt>
                <c:pt idx="19">
                  <c:v>44387</c:v>
                </c:pt>
                <c:pt idx="20">
                  <c:v>44388</c:v>
                </c:pt>
                <c:pt idx="21">
                  <c:v>44389</c:v>
                </c:pt>
                <c:pt idx="22">
                  <c:v>44390</c:v>
                </c:pt>
                <c:pt idx="23">
                  <c:v>44391</c:v>
                </c:pt>
                <c:pt idx="24">
                  <c:v>44392</c:v>
                </c:pt>
                <c:pt idx="25">
                  <c:v>44393</c:v>
                </c:pt>
                <c:pt idx="26">
                  <c:v>44394</c:v>
                </c:pt>
                <c:pt idx="27">
                  <c:v>44395</c:v>
                </c:pt>
                <c:pt idx="28">
                  <c:v>44396</c:v>
                </c:pt>
                <c:pt idx="29">
                  <c:v>44397</c:v>
                </c:pt>
                <c:pt idx="30">
                  <c:v>44398</c:v>
                </c:pt>
                <c:pt idx="31">
                  <c:v>44399</c:v>
                </c:pt>
                <c:pt idx="32">
                  <c:v>44400</c:v>
                </c:pt>
                <c:pt idx="33">
                  <c:v>44401</c:v>
                </c:pt>
                <c:pt idx="34">
                  <c:v>44402</c:v>
                </c:pt>
                <c:pt idx="35">
                  <c:v>44403</c:v>
                </c:pt>
                <c:pt idx="36">
                  <c:v>44404</c:v>
                </c:pt>
                <c:pt idx="37">
                  <c:v>44405</c:v>
                </c:pt>
                <c:pt idx="38">
                  <c:v>44406</c:v>
                </c:pt>
                <c:pt idx="39">
                  <c:v>44407</c:v>
                </c:pt>
                <c:pt idx="40">
                  <c:v>44408</c:v>
                </c:pt>
                <c:pt idx="41">
                  <c:v>44409</c:v>
                </c:pt>
                <c:pt idx="42">
                  <c:v>44410</c:v>
                </c:pt>
                <c:pt idx="43">
                  <c:v>44411</c:v>
                </c:pt>
                <c:pt idx="44">
                  <c:v>44412</c:v>
                </c:pt>
                <c:pt idx="45">
                  <c:v>44413</c:v>
                </c:pt>
                <c:pt idx="46">
                  <c:v>44414</c:v>
                </c:pt>
                <c:pt idx="47">
                  <c:v>44415</c:v>
                </c:pt>
                <c:pt idx="48">
                  <c:v>44416</c:v>
                </c:pt>
                <c:pt idx="49">
                  <c:v>44417</c:v>
                </c:pt>
                <c:pt idx="50">
                  <c:v>44418</c:v>
                </c:pt>
                <c:pt idx="51">
                  <c:v>44419</c:v>
                </c:pt>
                <c:pt idx="52">
                  <c:v>44420</c:v>
                </c:pt>
                <c:pt idx="53">
                  <c:v>44421</c:v>
                </c:pt>
                <c:pt idx="54">
                  <c:v>44422</c:v>
                </c:pt>
                <c:pt idx="55">
                  <c:v>44423</c:v>
                </c:pt>
                <c:pt idx="56">
                  <c:v>44424</c:v>
                </c:pt>
                <c:pt idx="57">
                  <c:v>44425</c:v>
                </c:pt>
                <c:pt idx="58">
                  <c:v>44426</c:v>
                </c:pt>
                <c:pt idx="59">
                  <c:v>44427</c:v>
                </c:pt>
                <c:pt idx="60">
                  <c:v>44428</c:v>
                </c:pt>
                <c:pt idx="61">
                  <c:v>44429</c:v>
                </c:pt>
                <c:pt idx="62">
                  <c:v>44430</c:v>
                </c:pt>
                <c:pt idx="63">
                  <c:v>44431</c:v>
                </c:pt>
                <c:pt idx="64">
                  <c:v>44432</c:v>
                </c:pt>
                <c:pt idx="65">
                  <c:v>44433</c:v>
                </c:pt>
                <c:pt idx="66">
                  <c:v>44434</c:v>
                </c:pt>
                <c:pt idx="67">
                  <c:v>44435</c:v>
                </c:pt>
                <c:pt idx="68">
                  <c:v>44436</c:v>
                </c:pt>
                <c:pt idx="69">
                  <c:v>44437</c:v>
                </c:pt>
                <c:pt idx="70">
                  <c:v>44438</c:v>
                </c:pt>
                <c:pt idx="71">
                  <c:v>44439</c:v>
                </c:pt>
                <c:pt idx="72">
                  <c:v>44440</c:v>
                </c:pt>
                <c:pt idx="73">
                  <c:v>44441</c:v>
                </c:pt>
                <c:pt idx="74">
                  <c:v>44442</c:v>
                </c:pt>
                <c:pt idx="75">
                  <c:v>44443</c:v>
                </c:pt>
                <c:pt idx="76">
                  <c:v>44444</c:v>
                </c:pt>
                <c:pt idx="77">
                  <c:v>44445</c:v>
                </c:pt>
                <c:pt idx="78">
                  <c:v>44446</c:v>
                </c:pt>
                <c:pt idx="79">
                  <c:v>44447</c:v>
                </c:pt>
                <c:pt idx="80">
                  <c:v>44448</c:v>
                </c:pt>
                <c:pt idx="81">
                  <c:v>44449</c:v>
                </c:pt>
                <c:pt idx="82">
                  <c:v>44450</c:v>
                </c:pt>
                <c:pt idx="83">
                  <c:v>44451</c:v>
                </c:pt>
                <c:pt idx="84">
                  <c:v>44452</c:v>
                </c:pt>
                <c:pt idx="85">
                  <c:v>44453</c:v>
                </c:pt>
                <c:pt idx="86">
                  <c:v>44454</c:v>
                </c:pt>
                <c:pt idx="87">
                  <c:v>44455</c:v>
                </c:pt>
                <c:pt idx="88">
                  <c:v>44456</c:v>
                </c:pt>
                <c:pt idx="89">
                  <c:v>44457</c:v>
                </c:pt>
                <c:pt idx="90">
                  <c:v>44458</c:v>
                </c:pt>
                <c:pt idx="91">
                  <c:v>44459</c:v>
                </c:pt>
                <c:pt idx="92">
                  <c:v>44460</c:v>
                </c:pt>
                <c:pt idx="93">
                  <c:v>44461</c:v>
                </c:pt>
                <c:pt idx="94">
                  <c:v>44462</c:v>
                </c:pt>
                <c:pt idx="95">
                  <c:v>44463</c:v>
                </c:pt>
                <c:pt idx="96">
                  <c:v>44464</c:v>
                </c:pt>
                <c:pt idx="97">
                  <c:v>44465</c:v>
                </c:pt>
                <c:pt idx="98">
                  <c:v>44466</c:v>
                </c:pt>
                <c:pt idx="99">
                  <c:v>44467</c:v>
                </c:pt>
                <c:pt idx="100">
                  <c:v>44468</c:v>
                </c:pt>
                <c:pt idx="101">
                  <c:v>44469</c:v>
                </c:pt>
                <c:pt idx="102">
                  <c:v>44470</c:v>
                </c:pt>
                <c:pt idx="103">
                  <c:v>44471</c:v>
                </c:pt>
                <c:pt idx="104">
                  <c:v>44472</c:v>
                </c:pt>
                <c:pt idx="105">
                  <c:v>44473</c:v>
                </c:pt>
                <c:pt idx="106">
                  <c:v>44474</c:v>
                </c:pt>
                <c:pt idx="107">
                  <c:v>44475</c:v>
                </c:pt>
                <c:pt idx="108">
                  <c:v>44476</c:v>
                </c:pt>
                <c:pt idx="109">
                  <c:v>44477</c:v>
                </c:pt>
                <c:pt idx="110">
                  <c:v>44478</c:v>
                </c:pt>
                <c:pt idx="111">
                  <c:v>44479</c:v>
                </c:pt>
                <c:pt idx="112">
                  <c:v>44480</c:v>
                </c:pt>
                <c:pt idx="113">
                  <c:v>44481</c:v>
                </c:pt>
                <c:pt idx="114">
                  <c:v>44482</c:v>
                </c:pt>
                <c:pt idx="115">
                  <c:v>44483</c:v>
                </c:pt>
                <c:pt idx="116">
                  <c:v>44484</c:v>
                </c:pt>
                <c:pt idx="117">
                  <c:v>44485</c:v>
                </c:pt>
                <c:pt idx="118">
                  <c:v>44486</c:v>
                </c:pt>
                <c:pt idx="119">
                  <c:v>44487</c:v>
                </c:pt>
                <c:pt idx="120">
                  <c:v>44488</c:v>
                </c:pt>
                <c:pt idx="121">
                  <c:v>44489</c:v>
                </c:pt>
                <c:pt idx="122">
                  <c:v>44490</c:v>
                </c:pt>
                <c:pt idx="123">
                  <c:v>44491</c:v>
                </c:pt>
                <c:pt idx="124">
                  <c:v>44492</c:v>
                </c:pt>
                <c:pt idx="125">
                  <c:v>44493</c:v>
                </c:pt>
                <c:pt idx="126">
                  <c:v>44494</c:v>
                </c:pt>
                <c:pt idx="127">
                  <c:v>44495</c:v>
                </c:pt>
                <c:pt idx="128">
                  <c:v>44496</c:v>
                </c:pt>
                <c:pt idx="129">
                  <c:v>44497</c:v>
                </c:pt>
                <c:pt idx="130">
                  <c:v>44498</c:v>
                </c:pt>
                <c:pt idx="131">
                  <c:v>44499</c:v>
                </c:pt>
                <c:pt idx="132">
                  <c:v>44500</c:v>
                </c:pt>
                <c:pt idx="133">
                  <c:v>44501</c:v>
                </c:pt>
                <c:pt idx="134">
                  <c:v>44502</c:v>
                </c:pt>
                <c:pt idx="135">
                  <c:v>44503</c:v>
                </c:pt>
                <c:pt idx="136">
                  <c:v>44504</c:v>
                </c:pt>
                <c:pt idx="137">
                  <c:v>44505</c:v>
                </c:pt>
                <c:pt idx="138">
                  <c:v>44506</c:v>
                </c:pt>
                <c:pt idx="139">
                  <c:v>44507</c:v>
                </c:pt>
                <c:pt idx="140">
                  <c:v>44508</c:v>
                </c:pt>
                <c:pt idx="141">
                  <c:v>44509</c:v>
                </c:pt>
                <c:pt idx="142">
                  <c:v>44510</c:v>
                </c:pt>
                <c:pt idx="143">
                  <c:v>44511</c:v>
                </c:pt>
                <c:pt idx="144">
                  <c:v>44512</c:v>
                </c:pt>
                <c:pt idx="145">
                  <c:v>44513</c:v>
                </c:pt>
                <c:pt idx="146">
                  <c:v>44514</c:v>
                </c:pt>
                <c:pt idx="147">
                  <c:v>44515</c:v>
                </c:pt>
                <c:pt idx="148">
                  <c:v>44516</c:v>
                </c:pt>
                <c:pt idx="149">
                  <c:v>44517</c:v>
                </c:pt>
                <c:pt idx="150">
                  <c:v>44518</c:v>
                </c:pt>
                <c:pt idx="151">
                  <c:v>44519</c:v>
                </c:pt>
                <c:pt idx="152">
                  <c:v>44520</c:v>
                </c:pt>
                <c:pt idx="153">
                  <c:v>44521</c:v>
                </c:pt>
                <c:pt idx="154">
                  <c:v>44522</c:v>
                </c:pt>
                <c:pt idx="155">
                  <c:v>44523</c:v>
                </c:pt>
                <c:pt idx="156">
                  <c:v>44524</c:v>
                </c:pt>
                <c:pt idx="157">
                  <c:v>44525</c:v>
                </c:pt>
                <c:pt idx="158">
                  <c:v>44526</c:v>
                </c:pt>
                <c:pt idx="159">
                  <c:v>44527</c:v>
                </c:pt>
                <c:pt idx="160">
                  <c:v>44528</c:v>
                </c:pt>
                <c:pt idx="161">
                  <c:v>44529</c:v>
                </c:pt>
                <c:pt idx="162">
                  <c:v>44530</c:v>
                </c:pt>
                <c:pt idx="163">
                  <c:v>44531</c:v>
                </c:pt>
                <c:pt idx="164">
                  <c:v>44532</c:v>
                </c:pt>
                <c:pt idx="165">
                  <c:v>44533</c:v>
                </c:pt>
                <c:pt idx="166">
                  <c:v>44534</c:v>
                </c:pt>
                <c:pt idx="167">
                  <c:v>44535</c:v>
                </c:pt>
                <c:pt idx="168">
                  <c:v>44536</c:v>
                </c:pt>
                <c:pt idx="169">
                  <c:v>44537</c:v>
                </c:pt>
                <c:pt idx="170">
                  <c:v>44538</c:v>
                </c:pt>
                <c:pt idx="171">
                  <c:v>44539</c:v>
                </c:pt>
                <c:pt idx="172">
                  <c:v>44540</c:v>
                </c:pt>
                <c:pt idx="173">
                  <c:v>44541</c:v>
                </c:pt>
                <c:pt idx="174">
                  <c:v>44542</c:v>
                </c:pt>
                <c:pt idx="175">
                  <c:v>44543</c:v>
                </c:pt>
                <c:pt idx="176">
                  <c:v>44544</c:v>
                </c:pt>
                <c:pt idx="177">
                  <c:v>44545</c:v>
                </c:pt>
                <c:pt idx="178">
                  <c:v>44546</c:v>
                </c:pt>
                <c:pt idx="179">
                  <c:v>44547</c:v>
                </c:pt>
                <c:pt idx="180">
                  <c:v>44548</c:v>
                </c:pt>
                <c:pt idx="181">
                  <c:v>44549</c:v>
                </c:pt>
                <c:pt idx="182">
                  <c:v>44550</c:v>
                </c:pt>
                <c:pt idx="183">
                  <c:v>44551</c:v>
                </c:pt>
                <c:pt idx="184">
                  <c:v>44552</c:v>
                </c:pt>
                <c:pt idx="185">
                  <c:v>44553</c:v>
                </c:pt>
                <c:pt idx="186">
                  <c:v>44554</c:v>
                </c:pt>
                <c:pt idx="187">
                  <c:v>44555</c:v>
                </c:pt>
                <c:pt idx="188">
                  <c:v>44556</c:v>
                </c:pt>
                <c:pt idx="189">
                  <c:v>44557</c:v>
                </c:pt>
                <c:pt idx="190">
                  <c:v>44558</c:v>
                </c:pt>
                <c:pt idx="191">
                  <c:v>44559</c:v>
                </c:pt>
                <c:pt idx="192">
                  <c:v>44560</c:v>
                </c:pt>
                <c:pt idx="193">
                  <c:v>44561</c:v>
                </c:pt>
                <c:pt idx="194">
                  <c:v>44562</c:v>
                </c:pt>
                <c:pt idx="195">
                  <c:v>44563</c:v>
                </c:pt>
                <c:pt idx="196">
                  <c:v>44564</c:v>
                </c:pt>
                <c:pt idx="197">
                  <c:v>44565</c:v>
                </c:pt>
                <c:pt idx="198">
                  <c:v>44566</c:v>
                </c:pt>
                <c:pt idx="199">
                  <c:v>44567</c:v>
                </c:pt>
                <c:pt idx="200">
                  <c:v>44568</c:v>
                </c:pt>
                <c:pt idx="201">
                  <c:v>44569</c:v>
                </c:pt>
                <c:pt idx="202">
                  <c:v>44570</c:v>
                </c:pt>
                <c:pt idx="203">
                  <c:v>44571</c:v>
                </c:pt>
                <c:pt idx="204">
                  <c:v>44572</c:v>
                </c:pt>
                <c:pt idx="205">
                  <c:v>44573</c:v>
                </c:pt>
                <c:pt idx="206">
                  <c:v>44574</c:v>
                </c:pt>
                <c:pt idx="207">
                  <c:v>44575</c:v>
                </c:pt>
                <c:pt idx="208">
                  <c:v>44576</c:v>
                </c:pt>
                <c:pt idx="209">
                  <c:v>44577</c:v>
                </c:pt>
                <c:pt idx="210">
                  <c:v>44578</c:v>
                </c:pt>
                <c:pt idx="211">
                  <c:v>44579</c:v>
                </c:pt>
                <c:pt idx="212">
                  <c:v>44580</c:v>
                </c:pt>
                <c:pt idx="213">
                  <c:v>44581</c:v>
                </c:pt>
                <c:pt idx="214">
                  <c:v>44582</c:v>
                </c:pt>
                <c:pt idx="215">
                  <c:v>44583</c:v>
                </c:pt>
                <c:pt idx="216">
                  <c:v>44584</c:v>
                </c:pt>
                <c:pt idx="217">
                  <c:v>44585</c:v>
                </c:pt>
                <c:pt idx="218">
                  <c:v>44586</c:v>
                </c:pt>
                <c:pt idx="219">
                  <c:v>44587</c:v>
                </c:pt>
                <c:pt idx="220">
                  <c:v>44588</c:v>
                </c:pt>
                <c:pt idx="221">
                  <c:v>44589</c:v>
                </c:pt>
                <c:pt idx="222">
                  <c:v>44590</c:v>
                </c:pt>
                <c:pt idx="223">
                  <c:v>44591</c:v>
                </c:pt>
                <c:pt idx="224">
                  <c:v>44592</c:v>
                </c:pt>
                <c:pt idx="225">
                  <c:v>44593</c:v>
                </c:pt>
                <c:pt idx="226">
                  <c:v>44594</c:v>
                </c:pt>
                <c:pt idx="227">
                  <c:v>44595</c:v>
                </c:pt>
                <c:pt idx="228">
                  <c:v>44596</c:v>
                </c:pt>
                <c:pt idx="229">
                  <c:v>44597</c:v>
                </c:pt>
                <c:pt idx="230">
                  <c:v>44598</c:v>
                </c:pt>
                <c:pt idx="231">
                  <c:v>44599</c:v>
                </c:pt>
                <c:pt idx="232">
                  <c:v>44600</c:v>
                </c:pt>
                <c:pt idx="233">
                  <c:v>44601</c:v>
                </c:pt>
                <c:pt idx="234">
                  <c:v>44602</c:v>
                </c:pt>
                <c:pt idx="235">
                  <c:v>44603</c:v>
                </c:pt>
                <c:pt idx="236">
                  <c:v>44604</c:v>
                </c:pt>
                <c:pt idx="237">
                  <c:v>44605</c:v>
                </c:pt>
                <c:pt idx="238">
                  <c:v>44606</c:v>
                </c:pt>
                <c:pt idx="239">
                  <c:v>44607</c:v>
                </c:pt>
                <c:pt idx="240">
                  <c:v>44608</c:v>
                </c:pt>
                <c:pt idx="241">
                  <c:v>44609</c:v>
                </c:pt>
                <c:pt idx="242">
                  <c:v>44610</c:v>
                </c:pt>
                <c:pt idx="243">
                  <c:v>44611</c:v>
                </c:pt>
                <c:pt idx="244">
                  <c:v>44612</c:v>
                </c:pt>
                <c:pt idx="245">
                  <c:v>44613</c:v>
                </c:pt>
                <c:pt idx="246">
                  <c:v>44614</c:v>
                </c:pt>
                <c:pt idx="247">
                  <c:v>44615</c:v>
                </c:pt>
                <c:pt idx="248">
                  <c:v>44616</c:v>
                </c:pt>
                <c:pt idx="249">
                  <c:v>44617</c:v>
                </c:pt>
              </c:numCache>
            </c:numRef>
          </c:cat>
          <c:val>
            <c:numRef>
              <c:f>Sheet1!$B$135:$B$384</c:f>
              <c:numCache>
                <c:formatCode>General</c:formatCode>
                <c:ptCount val="250"/>
                <c:pt idx="0">
                  <c:v>2</c:v>
                </c:pt>
                <c:pt idx="1">
                  <c:v>3</c:v>
                </c:pt>
                <c:pt idx="2">
                  <c:v>1</c:v>
                </c:pt>
                <c:pt idx="3">
                  <c:v>0</c:v>
                </c:pt>
                <c:pt idx="4">
                  <c:v>0</c:v>
                </c:pt>
                <c:pt idx="5">
                  <c:v>3</c:v>
                </c:pt>
                <c:pt idx="6">
                  <c:v>1</c:v>
                </c:pt>
                <c:pt idx="7">
                  <c:v>0</c:v>
                </c:pt>
                <c:pt idx="8">
                  <c:v>1</c:v>
                </c:pt>
                <c:pt idx="9">
                  <c:v>1</c:v>
                </c:pt>
                <c:pt idx="10">
                  <c:v>2</c:v>
                </c:pt>
                <c:pt idx="11">
                  <c:v>1</c:v>
                </c:pt>
                <c:pt idx="12">
                  <c:v>2</c:v>
                </c:pt>
                <c:pt idx="13">
                  <c:v>1</c:v>
                </c:pt>
                <c:pt idx="14">
                  <c:v>4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1</c:v>
                </c:pt>
                <c:pt idx="19">
                  <c:v>1</c:v>
                </c:pt>
                <c:pt idx="20">
                  <c:v>0</c:v>
                </c:pt>
                <c:pt idx="21">
                  <c:v>2</c:v>
                </c:pt>
                <c:pt idx="22">
                  <c:v>3</c:v>
                </c:pt>
                <c:pt idx="23">
                  <c:v>3</c:v>
                </c:pt>
                <c:pt idx="24">
                  <c:v>3</c:v>
                </c:pt>
                <c:pt idx="25">
                  <c:v>0</c:v>
                </c:pt>
                <c:pt idx="26">
                  <c:v>0</c:v>
                </c:pt>
                <c:pt idx="27">
                  <c:v>2</c:v>
                </c:pt>
                <c:pt idx="28">
                  <c:v>5</c:v>
                </c:pt>
                <c:pt idx="29">
                  <c:v>1</c:v>
                </c:pt>
                <c:pt idx="30">
                  <c:v>4</c:v>
                </c:pt>
                <c:pt idx="31">
                  <c:v>0</c:v>
                </c:pt>
                <c:pt idx="32">
                  <c:v>4</c:v>
                </c:pt>
                <c:pt idx="33">
                  <c:v>1</c:v>
                </c:pt>
                <c:pt idx="34">
                  <c:v>1</c:v>
                </c:pt>
                <c:pt idx="35">
                  <c:v>3</c:v>
                </c:pt>
                <c:pt idx="36">
                  <c:v>0</c:v>
                </c:pt>
                <c:pt idx="37">
                  <c:v>0</c:v>
                </c:pt>
                <c:pt idx="38">
                  <c:v>2</c:v>
                </c:pt>
                <c:pt idx="39">
                  <c:v>2</c:v>
                </c:pt>
                <c:pt idx="40">
                  <c:v>1</c:v>
                </c:pt>
                <c:pt idx="41">
                  <c:v>0</c:v>
                </c:pt>
                <c:pt idx="42">
                  <c:v>0</c:v>
                </c:pt>
                <c:pt idx="43">
                  <c:v>2</c:v>
                </c:pt>
                <c:pt idx="44">
                  <c:v>1</c:v>
                </c:pt>
                <c:pt idx="45">
                  <c:v>1</c:v>
                </c:pt>
                <c:pt idx="46">
                  <c:v>1</c:v>
                </c:pt>
                <c:pt idx="47">
                  <c:v>0</c:v>
                </c:pt>
                <c:pt idx="48">
                  <c:v>0</c:v>
                </c:pt>
                <c:pt idx="49">
                  <c:v>2</c:v>
                </c:pt>
                <c:pt idx="50">
                  <c:v>2</c:v>
                </c:pt>
                <c:pt idx="51">
                  <c:v>2</c:v>
                </c:pt>
                <c:pt idx="52">
                  <c:v>1</c:v>
                </c:pt>
                <c:pt idx="53">
                  <c:v>2</c:v>
                </c:pt>
                <c:pt idx="54">
                  <c:v>3</c:v>
                </c:pt>
                <c:pt idx="55">
                  <c:v>1</c:v>
                </c:pt>
                <c:pt idx="56">
                  <c:v>3</c:v>
                </c:pt>
                <c:pt idx="57">
                  <c:v>3</c:v>
                </c:pt>
                <c:pt idx="58">
                  <c:v>2</c:v>
                </c:pt>
                <c:pt idx="59">
                  <c:v>1</c:v>
                </c:pt>
                <c:pt idx="60">
                  <c:v>0</c:v>
                </c:pt>
                <c:pt idx="61">
                  <c:v>0</c:v>
                </c:pt>
                <c:pt idx="62">
                  <c:v>1</c:v>
                </c:pt>
                <c:pt idx="63">
                  <c:v>5</c:v>
                </c:pt>
                <c:pt idx="64">
                  <c:v>2</c:v>
                </c:pt>
                <c:pt idx="65">
                  <c:v>0</c:v>
                </c:pt>
                <c:pt idx="66">
                  <c:v>2</c:v>
                </c:pt>
                <c:pt idx="67">
                  <c:v>1</c:v>
                </c:pt>
                <c:pt idx="68">
                  <c:v>2</c:v>
                </c:pt>
                <c:pt idx="69">
                  <c:v>1</c:v>
                </c:pt>
                <c:pt idx="70">
                  <c:v>0</c:v>
                </c:pt>
                <c:pt idx="71">
                  <c:v>2</c:v>
                </c:pt>
                <c:pt idx="72">
                  <c:v>1</c:v>
                </c:pt>
                <c:pt idx="73">
                  <c:v>6</c:v>
                </c:pt>
                <c:pt idx="74">
                  <c:v>6</c:v>
                </c:pt>
                <c:pt idx="75">
                  <c:v>1</c:v>
                </c:pt>
                <c:pt idx="76">
                  <c:v>1</c:v>
                </c:pt>
                <c:pt idx="77">
                  <c:v>2</c:v>
                </c:pt>
                <c:pt idx="78">
                  <c:v>6</c:v>
                </c:pt>
                <c:pt idx="79">
                  <c:v>1</c:v>
                </c:pt>
                <c:pt idx="80">
                  <c:v>4</c:v>
                </c:pt>
                <c:pt idx="81">
                  <c:v>0</c:v>
                </c:pt>
                <c:pt idx="82">
                  <c:v>1</c:v>
                </c:pt>
                <c:pt idx="83">
                  <c:v>2</c:v>
                </c:pt>
                <c:pt idx="84">
                  <c:v>3</c:v>
                </c:pt>
                <c:pt idx="85">
                  <c:v>5</c:v>
                </c:pt>
                <c:pt idx="86">
                  <c:v>3</c:v>
                </c:pt>
                <c:pt idx="87">
                  <c:v>8</c:v>
                </c:pt>
                <c:pt idx="88">
                  <c:v>6</c:v>
                </c:pt>
                <c:pt idx="89">
                  <c:v>2</c:v>
                </c:pt>
                <c:pt idx="90">
                  <c:v>2</c:v>
                </c:pt>
                <c:pt idx="91">
                  <c:v>10</c:v>
                </c:pt>
                <c:pt idx="92">
                  <c:v>7</c:v>
                </c:pt>
                <c:pt idx="93">
                  <c:v>6</c:v>
                </c:pt>
                <c:pt idx="94">
                  <c:v>5</c:v>
                </c:pt>
                <c:pt idx="95">
                  <c:v>7</c:v>
                </c:pt>
                <c:pt idx="96">
                  <c:v>6</c:v>
                </c:pt>
                <c:pt idx="97">
                  <c:v>6</c:v>
                </c:pt>
                <c:pt idx="98">
                  <c:v>5</c:v>
                </c:pt>
                <c:pt idx="99">
                  <c:v>9</c:v>
                </c:pt>
                <c:pt idx="100">
                  <c:v>12</c:v>
                </c:pt>
                <c:pt idx="101">
                  <c:v>16</c:v>
                </c:pt>
                <c:pt idx="102">
                  <c:v>8</c:v>
                </c:pt>
                <c:pt idx="103">
                  <c:v>5</c:v>
                </c:pt>
                <c:pt idx="104">
                  <c:v>8</c:v>
                </c:pt>
                <c:pt idx="105">
                  <c:v>10</c:v>
                </c:pt>
                <c:pt idx="106">
                  <c:v>14</c:v>
                </c:pt>
                <c:pt idx="107">
                  <c:v>9</c:v>
                </c:pt>
                <c:pt idx="108">
                  <c:v>8</c:v>
                </c:pt>
                <c:pt idx="109">
                  <c:v>9</c:v>
                </c:pt>
                <c:pt idx="110">
                  <c:v>5</c:v>
                </c:pt>
                <c:pt idx="111">
                  <c:v>4</c:v>
                </c:pt>
                <c:pt idx="112">
                  <c:v>18</c:v>
                </c:pt>
                <c:pt idx="113">
                  <c:v>19</c:v>
                </c:pt>
                <c:pt idx="114">
                  <c:v>22</c:v>
                </c:pt>
                <c:pt idx="115">
                  <c:v>21</c:v>
                </c:pt>
                <c:pt idx="116">
                  <c:v>17</c:v>
                </c:pt>
                <c:pt idx="117">
                  <c:v>10</c:v>
                </c:pt>
                <c:pt idx="118">
                  <c:v>10</c:v>
                </c:pt>
                <c:pt idx="119">
                  <c:v>35</c:v>
                </c:pt>
                <c:pt idx="120">
                  <c:v>29</c:v>
                </c:pt>
                <c:pt idx="121">
                  <c:v>26</c:v>
                </c:pt>
                <c:pt idx="122">
                  <c:v>53</c:v>
                </c:pt>
                <c:pt idx="123">
                  <c:v>43</c:v>
                </c:pt>
                <c:pt idx="124">
                  <c:v>34</c:v>
                </c:pt>
                <c:pt idx="125">
                  <c:v>11</c:v>
                </c:pt>
                <c:pt idx="126">
                  <c:v>65</c:v>
                </c:pt>
                <c:pt idx="127">
                  <c:v>68</c:v>
                </c:pt>
                <c:pt idx="128">
                  <c:v>77</c:v>
                </c:pt>
                <c:pt idx="129">
                  <c:v>35</c:v>
                </c:pt>
                <c:pt idx="130">
                  <c:v>82</c:v>
                </c:pt>
                <c:pt idx="131">
                  <c:v>63</c:v>
                </c:pt>
                <c:pt idx="132">
                  <c:v>37</c:v>
                </c:pt>
                <c:pt idx="133">
                  <c:v>111</c:v>
                </c:pt>
                <c:pt idx="134">
                  <c:v>104</c:v>
                </c:pt>
                <c:pt idx="135">
                  <c:v>117</c:v>
                </c:pt>
                <c:pt idx="136">
                  <c:v>103</c:v>
                </c:pt>
                <c:pt idx="137">
                  <c:v>112</c:v>
                </c:pt>
                <c:pt idx="138">
                  <c:v>83</c:v>
                </c:pt>
                <c:pt idx="139">
                  <c:v>28</c:v>
                </c:pt>
                <c:pt idx="140">
                  <c:v>134</c:v>
                </c:pt>
                <c:pt idx="141">
                  <c:v>147</c:v>
                </c:pt>
                <c:pt idx="142">
                  <c:v>168</c:v>
                </c:pt>
                <c:pt idx="143">
                  <c:v>96</c:v>
                </c:pt>
                <c:pt idx="144">
                  <c:v>161</c:v>
                </c:pt>
                <c:pt idx="145">
                  <c:v>97</c:v>
                </c:pt>
                <c:pt idx="146">
                  <c:v>54</c:v>
                </c:pt>
                <c:pt idx="147">
                  <c:v>160</c:v>
                </c:pt>
                <c:pt idx="148">
                  <c:v>229</c:v>
                </c:pt>
                <c:pt idx="149">
                  <c:v>121</c:v>
                </c:pt>
                <c:pt idx="150">
                  <c:v>167</c:v>
                </c:pt>
                <c:pt idx="151">
                  <c:v>237</c:v>
                </c:pt>
                <c:pt idx="152">
                  <c:v>154</c:v>
                </c:pt>
                <c:pt idx="153">
                  <c:v>84</c:v>
                </c:pt>
                <c:pt idx="154">
                  <c:v>192</c:v>
                </c:pt>
                <c:pt idx="155">
                  <c:v>259</c:v>
                </c:pt>
                <c:pt idx="156">
                  <c:v>141</c:v>
                </c:pt>
                <c:pt idx="157">
                  <c:v>214</c:v>
                </c:pt>
                <c:pt idx="158">
                  <c:v>188</c:v>
                </c:pt>
                <c:pt idx="159">
                  <c:v>108</c:v>
                </c:pt>
                <c:pt idx="160">
                  <c:v>78</c:v>
                </c:pt>
                <c:pt idx="161">
                  <c:v>200</c:v>
                </c:pt>
                <c:pt idx="162">
                  <c:v>164</c:v>
                </c:pt>
                <c:pt idx="163">
                  <c:v>175</c:v>
                </c:pt>
                <c:pt idx="164">
                  <c:v>146</c:v>
                </c:pt>
                <c:pt idx="165">
                  <c:v>146</c:v>
                </c:pt>
                <c:pt idx="166">
                  <c:v>86</c:v>
                </c:pt>
                <c:pt idx="167">
                  <c:v>65</c:v>
                </c:pt>
                <c:pt idx="168">
                  <c:v>167</c:v>
                </c:pt>
                <c:pt idx="169">
                  <c:v>153</c:v>
                </c:pt>
                <c:pt idx="170">
                  <c:v>120</c:v>
                </c:pt>
                <c:pt idx="171">
                  <c:v>127</c:v>
                </c:pt>
                <c:pt idx="172">
                  <c:v>112</c:v>
                </c:pt>
                <c:pt idx="173">
                  <c:v>74</c:v>
                </c:pt>
                <c:pt idx="174">
                  <c:v>58</c:v>
                </c:pt>
                <c:pt idx="175">
                  <c:v>103</c:v>
                </c:pt>
                <c:pt idx="176">
                  <c:v>125</c:v>
                </c:pt>
                <c:pt idx="177">
                  <c:v>86</c:v>
                </c:pt>
                <c:pt idx="178">
                  <c:v>66</c:v>
                </c:pt>
                <c:pt idx="179">
                  <c:v>81</c:v>
                </c:pt>
                <c:pt idx="180">
                  <c:v>48</c:v>
                </c:pt>
                <c:pt idx="181">
                  <c:v>33</c:v>
                </c:pt>
                <c:pt idx="182">
                  <c:v>90</c:v>
                </c:pt>
                <c:pt idx="183">
                  <c:v>83</c:v>
                </c:pt>
                <c:pt idx="184">
                  <c:v>52</c:v>
                </c:pt>
                <c:pt idx="185">
                  <c:v>61</c:v>
                </c:pt>
                <c:pt idx="186">
                  <c:v>22</c:v>
                </c:pt>
                <c:pt idx="187">
                  <c:v>18</c:v>
                </c:pt>
                <c:pt idx="188">
                  <c:v>18</c:v>
                </c:pt>
                <c:pt idx="189">
                  <c:v>75</c:v>
                </c:pt>
                <c:pt idx="190">
                  <c:v>91</c:v>
                </c:pt>
                <c:pt idx="191">
                  <c:v>56</c:v>
                </c:pt>
                <c:pt idx="192">
                  <c:v>53</c:v>
                </c:pt>
                <c:pt idx="193">
                  <c:v>52</c:v>
                </c:pt>
                <c:pt idx="194">
                  <c:v>12</c:v>
                </c:pt>
                <c:pt idx="195">
                  <c:v>36</c:v>
                </c:pt>
                <c:pt idx="196">
                  <c:v>98</c:v>
                </c:pt>
                <c:pt idx="197">
                  <c:v>80</c:v>
                </c:pt>
                <c:pt idx="198">
                  <c:v>56</c:v>
                </c:pt>
                <c:pt idx="199">
                  <c:v>59</c:v>
                </c:pt>
                <c:pt idx="200">
                  <c:v>67</c:v>
                </c:pt>
                <c:pt idx="201">
                  <c:v>37</c:v>
                </c:pt>
                <c:pt idx="202">
                  <c:v>30</c:v>
                </c:pt>
                <c:pt idx="203">
                  <c:v>71</c:v>
                </c:pt>
                <c:pt idx="204">
                  <c:v>106</c:v>
                </c:pt>
                <c:pt idx="205">
                  <c:v>117</c:v>
                </c:pt>
                <c:pt idx="206">
                  <c:v>97</c:v>
                </c:pt>
                <c:pt idx="207">
                  <c:v>113</c:v>
                </c:pt>
                <c:pt idx="208">
                  <c:v>92</c:v>
                </c:pt>
                <c:pt idx="209">
                  <c:v>68</c:v>
                </c:pt>
                <c:pt idx="210">
                  <c:v>238</c:v>
                </c:pt>
                <c:pt idx="211">
                  <c:v>271</c:v>
                </c:pt>
                <c:pt idx="212">
                  <c:v>289</c:v>
                </c:pt>
                <c:pt idx="213">
                  <c:v>291</c:v>
                </c:pt>
                <c:pt idx="214">
                  <c:v>314</c:v>
                </c:pt>
                <c:pt idx="215">
                  <c:v>171</c:v>
                </c:pt>
                <c:pt idx="216">
                  <c:v>187</c:v>
                </c:pt>
                <c:pt idx="217">
                  <c:v>420</c:v>
                </c:pt>
                <c:pt idx="218">
                  <c:v>386</c:v>
                </c:pt>
                <c:pt idx="219">
                  <c:v>442</c:v>
                </c:pt>
                <c:pt idx="220">
                  <c:v>816</c:v>
                </c:pt>
                <c:pt idx="221">
                  <c:v>612</c:v>
                </c:pt>
                <c:pt idx="222">
                  <c:v>217</c:v>
                </c:pt>
                <c:pt idx="223">
                  <c:v>324</c:v>
                </c:pt>
                <c:pt idx="224">
                  <c:v>639</c:v>
                </c:pt>
                <c:pt idx="225">
                  <c:v>713</c:v>
                </c:pt>
                <c:pt idx="226">
                  <c:v>574</c:v>
                </c:pt>
                <c:pt idx="227">
                  <c:v>552</c:v>
                </c:pt>
                <c:pt idx="228">
                  <c:v>413</c:v>
                </c:pt>
                <c:pt idx="229">
                  <c:v>338</c:v>
                </c:pt>
                <c:pt idx="230">
                  <c:v>171</c:v>
                </c:pt>
                <c:pt idx="231">
                  <c:v>625</c:v>
                </c:pt>
                <c:pt idx="232">
                  <c:v>544</c:v>
                </c:pt>
                <c:pt idx="233">
                  <c:v>426</c:v>
                </c:pt>
                <c:pt idx="234">
                  <c:v>370</c:v>
                </c:pt>
                <c:pt idx="235">
                  <c:v>353</c:v>
                </c:pt>
                <c:pt idx="236">
                  <c:v>202</c:v>
                </c:pt>
                <c:pt idx="237">
                  <c:v>147</c:v>
                </c:pt>
                <c:pt idx="238">
                  <c:v>420</c:v>
                </c:pt>
                <c:pt idx="239">
                  <c:v>416</c:v>
                </c:pt>
                <c:pt idx="240">
                  <c:v>311</c:v>
                </c:pt>
                <c:pt idx="241">
                  <c:v>277</c:v>
                </c:pt>
                <c:pt idx="242">
                  <c:v>232</c:v>
                </c:pt>
                <c:pt idx="243">
                  <c:v>132</c:v>
                </c:pt>
                <c:pt idx="244">
                  <c:v>89</c:v>
                </c:pt>
                <c:pt idx="245">
                  <c:v>307</c:v>
                </c:pt>
                <c:pt idx="246">
                  <c:v>243</c:v>
                </c:pt>
                <c:pt idx="247">
                  <c:v>176</c:v>
                </c:pt>
                <c:pt idx="248">
                  <c:v>168</c:v>
                </c:pt>
                <c:pt idx="249">
                  <c:v>15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A3F-4C94-8915-777191685E7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dateAx>
        <c:axId val="417147840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1"/>
        <c:majorTimeUnit val="days"/>
      </c:dateAx>
      <c:valAx>
        <c:axId val="419321824"/>
        <c:scaling>
          <c:orientation val="minMax"/>
          <c:min val="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3714648495541371E-2"/>
          <c:y val="0.11530977652557951"/>
          <c:w val="0.91692139603581668"/>
          <c:h val="0.71344666460445894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dLbl>
              <c:idx val="134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30B2-4BBE-A912-02DA2889190D}"/>
                </c:ext>
              </c:extLst>
            </c:dLbl>
            <c:dLbl>
              <c:idx val="136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30B2-4BBE-A912-02DA2889190D}"/>
                </c:ext>
              </c:extLst>
            </c:dLbl>
            <c:dLbl>
              <c:idx val="137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30B2-4BBE-A912-02DA2889190D}"/>
                </c:ext>
              </c:extLst>
            </c:dLbl>
            <c:dLbl>
              <c:idx val="138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30B2-4BBE-A912-02DA2889190D}"/>
                </c:ext>
              </c:extLst>
            </c:dLbl>
            <c:dLbl>
              <c:idx val="139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30B2-4BBE-A912-02DA2889190D}"/>
                </c:ext>
              </c:extLst>
            </c:dLbl>
            <c:dLbl>
              <c:idx val="14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30B2-4BBE-A912-02DA2889190D}"/>
                </c:ext>
              </c:extLst>
            </c:dLbl>
            <c:dLbl>
              <c:idx val="14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30B2-4BBE-A912-02DA2889190D}"/>
                </c:ext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135:$A$391</c:f>
              <c:numCache>
                <c:formatCode>m/d/yyyy</c:formatCode>
                <c:ptCount val="257"/>
                <c:pt idx="0">
                  <c:v>44364</c:v>
                </c:pt>
                <c:pt idx="1">
                  <c:v>44365</c:v>
                </c:pt>
                <c:pt idx="2">
                  <c:v>44366</c:v>
                </c:pt>
                <c:pt idx="3">
                  <c:v>44367</c:v>
                </c:pt>
                <c:pt idx="4">
                  <c:v>44369</c:v>
                </c:pt>
                <c:pt idx="5">
                  <c:v>44370</c:v>
                </c:pt>
                <c:pt idx="6">
                  <c:v>44371</c:v>
                </c:pt>
                <c:pt idx="7">
                  <c:v>44373</c:v>
                </c:pt>
                <c:pt idx="8">
                  <c:v>44374</c:v>
                </c:pt>
                <c:pt idx="9">
                  <c:v>44375</c:v>
                </c:pt>
                <c:pt idx="10">
                  <c:v>44376</c:v>
                </c:pt>
                <c:pt idx="11">
                  <c:v>44378</c:v>
                </c:pt>
                <c:pt idx="12">
                  <c:v>44379</c:v>
                </c:pt>
                <c:pt idx="13">
                  <c:v>44381</c:v>
                </c:pt>
                <c:pt idx="14">
                  <c:v>44382</c:v>
                </c:pt>
                <c:pt idx="15">
                  <c:v>44383</c:v>
                </c:pt>
                <c:pt idx="16">
                  <c:v>44384</c:v>
                </c:pt>
                <c:pt idx="17">
                  <c:v>44385</c:v>
                </c:pt>
                <c:pt idx="18">
                  <c:v>44386</c:v>
                </c:pt>
                <c:pt idx="19">
                  <c:v>44387</c:v>
                </c:pt>
                <c:pt idx="20">
                  <c:v>44388</c:v>
                </c:pt>
                <c:pt idx="21">
                  <c:v>44389</c:v>
                </c:pt>
                <c:pt idx="22">
                  <c:v>44390</c:v>
                </c:pt>
                <c:pt idx="23">
                  <c:v>44391</c:v>
                </c:pt>
                <c:pt idx="24">
                  <c:v>44392</c:v>
                </c:pt>
                <c:pt idx="25">
                  <c:v>44393</c:v>
                </c:pt>
                <c:pt idx="26">
                  <c:v>44394</c:v>
                </c:pt>
                <c:pt idx="27">
                  <c:v>44395</c:v>
                </c:pt>
                <c:pt idx="28">
                  <c:v>44396</c:v>
                </c:pt>
                <c:pt idx="29">
                  <c:v>44397</c:v>
                </c:pt>
                <c:pt idx="30">
                  <c:v>44398</c:v>
                </c:pt>
                <c:pt idx="31">
                  <c:v>44399</c:v>
                </c:pt>
                <c:pt idx="32">
                  <c:v>44400</c:v>
                </c:pt>
                <c:pt idx="33">
                  <c:v>44401</c:v>
                </c:pt>
                <c:pt idx="34">
                  <c:v>44402</c:v>
                </c:pt>
                <c:pt idx="35">
                  <c:v>44403</c:v>
                </c:pt>
                <c:pt idx="36">
                  <c:v>44404</c:v>
                </c:pt>
                <c:pt idx="37">
                  <c:v>44405</c:v>
                </c:pt>
                <c:pt idx="38">
                  <c:v>44406</c:v>
                </c:pt>
                <c:pt idx="39">
                  <c:v>44407</c:v>
                </c:pt>
                <c:pt idx="40">
                  <c:v>44408</c:v>
                </c:pt>
                <c:pt idx="41">
                  <c:v>44409</c:v>
                </c:pt>
                <c:pt idx="42">
                  <c:v>44410</c:v>
                </c:pt>
                <c:pt idx="43">
                  <c:v>44411</c:v>
                </c:pt>
                <c:pt idx="44">
                  <c:v>44412</c:v>
                </c:pt>
                <c:pt idx="45">
                  <c:v>44413</c:v>
                </c:pt>
                <c:pt idx="46">
                  <c:v>44414</c:v>
                </c:pt>
                <c:pt idx="47">
                  <c:v>44415</c:v>
                </c:pt>
                <c:pt idx="48">
                  <c:v>44416</c:v>
                </c:pt>
                <c:pt idx="49">
                  <c:v>44417</c:v>
                </c:pt>
                <c:pt idx="50">
                  <c:v>44418</c:v>
                </c:pt>
                <c:pt idx="51">
                  <c:v>44419</c:v>
                </c:pt>
                <c:pt idx="52">
                  <c:v>44420</c:v>
                </c:pt>
                <c:pt idx="53">
                  <c:v>44421</c:v>
                </c:pt>
                <c:pt idx="54">
                  <c:v>44422</c:v>
                </c:pt>
                <c:pt idx="55">
                  <c:v>44423</c:v>
                </c:pt>
                <c:pt idx="56">
                  <c:v>44424</c:v>
                </c:pt>
                <c:pt idx="57">
                  <c:v>44425</c:v>
                </c:pt>
                <c:pt idx="58">
                  <c:v>44426</c:v>
                </c:pt>
                <c:pt idx="59">
                  <c:v>44427</c:v>
                </c:pt>
                <c:pt idx="60">
                  <c:v>44428</c:v>
                </c:pt>
                <c:pt idx="61">
                  <c:v>44429</c:v>
                </c:pt>
                <c:pt idx="62">
                  <c:v>44430</c:v>
                </c:pt>
                <c:pt idx="63">
                  <c:v>44431</c:v>
                </c:pt>
                <c:pt idx="64">
                  <c:v>44432</c:v>
                </c:pt>
                <c:pt idx="65">
                  <c:v>44433</c:v>
                </c:pt>
                <c:pt idx="66">
                  <c:v>44434</c:v>
                </c:pt>
                <c:pt idx="67">
                  <c:v>44435</c:v>
                </c:pt>
                <c:pt idx="68">
                  <c:v>44436</c:v>
                </c:pt>
                <c:pt idx="69">
                  <c:v>44437</c:v>
                </c:pt>
                <c:pt idx="70">
                  <c:v>44438</c:v>
                </c:pt>
                <c:pt idx="71">
                  <c:v>44439</c:v>
                </c:pt>
                <c:pt idx="72">
                  <c:v>44440</c:v>
                </c:pt>
                <c:pt idx="73">
                  <c:v>44441</c:v>
                </c:pt>
                <c:pt idx="74">
                  <c:v>44442</c:v>
                </c:pt>
                <c:pt idx="75">
                  <c:v>44443</c:v>
                </c:pt>
                <c:pt idx="76">
                  <c:v>44444</c:v>
                </c:pt>
                <c:pt idx="77">
                  <c:v>44445</c:v>
                </c:pt>
                <c:pt idx="78">
                  <c:v>44446</c:v>
                </c:pt>
                <c:pt idx="79">
                  <c:v>44447</c:v>
                </c:pt>
                <c:pt idx="80">
                  <c:v>44448</c:v>
                </c:pt>
                <c:pt idx="81">
                  <c:v>44449</c:v>
                </c:pt>
                <c:pt idx="82">
                  <c:v>44450</c:v>
                </c:pt>
                <c:pt idx="83">
                  <c:v>44451</c:v>
                </c:pt>
                <c:pt idx="84">
                  <c:v>44452</c:v>
                </c:pt>
                <c:pt idx="85">
                  <c:v>44453</c:v>
                </c:pt>
                <c:pt idx="86">
                  <c:v>44454</c:v>
                </c:pt>
                <c:pt idx="87">
                  <c:v>44455</c:v>
                </c:pt>
                <c:pt idx="88">
                  <c:v>44456</c:v>
                </c:pt>
                <c:pt idx="89">
                  <c:v>44457</c:v>
                </c:pt>
                <c:pt idx="90">
                  <c:v>44458</c:v>
                </c:pt>
                <c:pt idx="91">
                  <c:v>44459</c:v>
                </c:pt>
                <c:pt idx="92">
                  <c:v>44460</c:v>
                </c:pt>
                <c:pt idx="93">
                  <c:v>44461</c:v>
                </c:pt>
                <c:pt idx="94">
                  <c:v>44462</c:v>
                </c:pt>
                <c:pt idx="95">
                  <c:v>44463</c:v>
                </c:pt>
                <c:pt idx="96">
                  <c:v>44464</c:v>
                </c:pt>
                <c:pt idx="97">
                  <c:v>44465</c:v>
                </c:pt>
                <c:pt idx="98">
                  <c:v>44466</c:v>
                </c:pt>
                <c:pt idx="99">
                  <c:v>44467</c:v>
                </c:pt>
                <c:pt idx="100">
                  <c:v>44468</c:v>
                </c:pt>
                <c:pt idx="101">
                  <c:v>44469</c:v>
                </c:pt>
                <c:pt idx="102">
                  <c:v>44470</c:v>
                </c:pt>
                <c:pt idx="103">
                  <c:v>44471</c:v>
                </c:pt>
                <c:pt idx="104">
                  <c:v>44472</c:v>
                </c:pt>
                <c:pt idx="105">
                  <c:v>44473</c:v>
                </c:pt>
                <c:pt idx="106">
                  <c:v>44474</c:v>
                </c:pt>
                <c:pt idx="107">
                  <c:v>44475</c:v>
                </c:pt>
                <c:pt idx="108">
                  <c:v>44476</c:v>
                </c:pt>
                <c:pt idx="109">
                  <c:v>44477</c:v>
                </c:pt>
                <c:pt idx="110">
                  <c:v>44478</c:v>
                </c:pt>
                <c:pt idx="111">
                  <c:v>44479</c:v>
                </c:pt>
                <c:pt idx="112">
                  <c:v>44480</c:v>
                </c:pt>
                <c:pt idx="113">
                  <c:v>44481</c:v>
                </c:pt>
                <c:pt idx="114">
                  <c:v>44482</c:v>
                </c:pt>
                <c:pt idx="115">
                  <c:v>44483</c:v>
                </c:pt>
                <c:pt idx="116">
                  <c:v>44484</c:v>
                </c:pt>
                <c:pt idx="117">
                  <c:v>44485</c:v>
                </c:pt>
                <c:pt idx="118">
                  <c:v>44486</c:v>
                </c:pt>
                <c:pt idx="119">
                  <c:v>44487</c:v>
                </c:pt>
                <c:pt idx="120">
                  <c:v>44488</c:v>
                </c:pt>
                <c:pt idx="121">
                  <c:v>44489</c:v>
                </c:pt>
                <c:pt idx="122">
                  <c:v>44490</c:v>
                </c:pt>
                <c:pt idx="123">
                  <c:v>44491</c:v>
                </c:pt>
                <c:pt idx="124">
                  <c:v>44492</c:v>
                </c:pt>
                <c:pt idx="125">
                  <c:v>44493</c:v>
                </c:pt>
                <c:pt idx="126">
                  <c:v>44494</c:v>
                </c:pt>
                <c:pt idx="127">
                  <c:v>44495</c:v>
                </c:pt>
                <c:pt idx="128">
                  <c:v>44496</c:v>
                </c:pt>
                <c:pt idx="129">
                  <c:v>44497</c:v>
                </c:pt>
                <c:pt idx="130">
                  <c:v>44498</c:v>
                </c:pt>
                <c:pt idx="131">
                  <c:v>44499</c:v>
                </c:pt>
                <c:pt idx="132">
                  <c:v>44500</c:v>
                </c:pt>
                <c:pt idx="133">
                  <c:v>44501</c:v>
                </c:pt>
                <c:pt idx="134">
                  <c:v>44502</c:v>
                </c:pt>
                <c:pt idx="135">
                  <c:v>44503</c:v>
                </c:pt>
                <c:pt idx="136">
                  <c:v>44504</c:v>
                </c:pt>
                <c:pt idx="137">
                  <c:v>44505</c:v>
                </c:pt>
                <c:pt idx="138">
                  <c:v>44506</c:v>
                </c:pt>
                <c:pt idx="139">
                  <c:v>44507</c:v>
                </c:pt>
                <c:pt idx="140">
                  <c:v>44508</c:v>
                </c:pt>
                <c:pt idx="141">
                  <c:v>44509</c:v>
                </c:pt>
                <c:pt idx="142">
                  <c:v>44510</c:v>
                </c:pt>
                <c:pt idx="143">
                  <c:v>44511</c:v>
                </c:pt>
                <c:pt idx="144">
                  <c:v>44512</c:v>
                </c:pt>
                <c:pt idx="145">
                  <c:v>44513</c:v>
                </c:pt>
                <c:pt idx="146">
                  <c:v>44514</c:v>
                </c:pt>
                <c:pt idx="147">
                  <c:v>44515</c:v>
                </c:pt>
                <c:pt idx="148">
                  <c:v>44516</c:v>
                </c:pt>
                <c:pt idx="149">
                  <c:v>44517</c:v>
                </c:pt>
                <c:pt idx="150">
                  <c:v>44518</c:v>
                </c:pt>
                <c:pt idx="151">
                  <c:v>44519</c:v>
                </c:pt>
                <c:pt idx="152">
                  <c:v>44520</c:v>
                </c:pt>
                <c:pt idx="153">
                  <c:v>44521</c:v>
                </c:pt>
                <c:pt idx="154">
                  <c:v>44522</c:v>
                </c:pt>
                <c:pt idx="155">
                  <c:v>44523</c:v>
                </c:pt>
                <c:pt idx="156">
                  <c:v>44524</c:v>
                </c:pt>
                <c:pt idx="157">
                  <c:v>44525</c:v>
                </c:pt>
                <c:pt idx="158">
                  <c:v>44526</c:v>
                </c:pt>
                <c:pt idx="159">
                  <c:v>44527</c:v>
                </c:pt>
                <c:pt idx="160">
                  <c:v>44528</c:v>
                </c:pt>
                <c:pt idx="161">
                  <c:v>44529</c:v>
                </c:pt>
                <c:pt idx="162">
                  <c:v>44530</c:v>
                </c:pt>
                <c:pt idx="163">
                  <c:v>44531</c:v>
                </c:pt>
                <c:pt idx="164">
                  <c:v>44532</c:v>
                </c:pt>
                <c:pt idx="165">
                  <c:v>44533</c:v>
                </c:pt>
                <c:pt idx="166">
                  <c:v>44534</c:v>
                </c:pt>
                <c:pt idx="167">
                  <c:v>44535</c:v>
                </c:pt>
                <c:pt idx="168">
                  <c:v>44536</c:v>
                </c:pt>
                <c:pt idx="169">
                  <c:v>44537</c:v>
                </c:pt>
                <c:pt idx="170">
                  <c:v>44538</c:v>
                </c:pt>
                <c:pt idx="171">
                  <c:v>44539</c:v>
                </c:pt>
                <c:pt idx="172">
                  <c:v>44540</c:v>
                </c:pt>
                <c:pt idx="173">
                  <c:v>44541</c:v>
                </c:pt>
                <c:pt idx="174">
                  <c:v>44542</c:v>
                </c:pt>
                <c:pt idx="175">
                  <c:v>44543</c:v>
                </c:pt>
                <c:pt idx="176">
                  <c:v>44544</c:v>
                </c:pt>
                <c:pt idx="177">
                  <c:v>44545</c:v>
                </c:pt>
                <c:pt idx="178">
                  <c:v>44546</c:v>
                </c:pt>
                <c:pt idx="179">
                  <c:v>44547</c:v>
                </c:pt>
                <c:pt idx="180">
                  <c:v>44548</c:v>
                </c:pt>
                <c:pt idx="181">
                  <c:v>44549</c:v>
                </c:pt>
                <c:pt idx="182">
                  <c:v>44550</c:v>
                </c:pt>
                <c:pt idx="183">
                  <c:v>44551</c:v>
                </c:pt>
                <c:pt idx="184">
                  <c:v>44552</c:v>
                </c:pt>
                <c:pt idx="185">
                  <c:v>44553</c:v>
                </c:pt>
                <c:pt idx="186">
                  <c:v>44554</c:v>
                </c:pt>
                <c:pt idx="187">
                  <c:v>44555</c:v>
                </c:pt>
                <c:pt idx="188">
                  <c:v>44556</c:v>
                </c:pt>
                <c:pt idx="189">
                  <c:v>44557</c:v>
                </c:pt>
                <c:pt idx="190">
                  <c:v>44558</c:v>
                </c:pt>
                <c:pt idx="191">
                  <c:v>44559</c:v>
                </c:pt>
                <c:pt idx="192">
                  <c:v>44560</c:v>
                </c:pt>
                <c:pt idx="193">
                  <c:v>44561</c:v>
                </c:pt>
                <c:pt idx="194">
                  <c:v>44562</c:v>
                </c:pt>
                <c:pt idx="195">
                  <c:v>44563</c:v>
                </c:pt>
                <c:pt idx="196">
                  <c:v>44564</c:v>
                </c:pt>
                <c:pt idx="197">
                  <c:v>44565</c:v>
                </c:pt>
                <c:pt idx="198">
                  <c:v>44566</c:v>
                </c:pt>
                <c:pt idx="199">
                  <c:v>44567</c:v>
                </c:pt>
                <c:pt idx="200">
                  <c:v>44568</c:v>
                </c:pt>
                <c:pt idx="201">
                  <c:v>44569</c:v>
                </c:pt>
                <c:pt idx="202">
                  <c:v>44570</c:v>
                </c:pt>
                <c:pt idx="203">
                  <c:v>44571</c:v>
                </c:pt>
                <c:pt idx="204">
                  <c:v>44572</c:v>
                </c:pt>
                <c:pt idx="205">
                  <c:v>44573</c:v>
                </c:pt>
                <c:pt idx="206">
                  <c:v>44574</c:v>
                </c:pt>
                <c:pt idx="207">
                  <c:v>44575</c:v>
                </c:pt>
                <c:pt idx="208">
                  <c:v>44576</c:v>
                </c:pt>
                <c:pt idx="209">
                  <c:v>44577</c:v>
                </c:pt>
                <c:pt idx="210">
                  <c:v>44578</c:v>
                </c:pt>
                <c:pt idx="211">
                  <c:v>44579</c:v>
                </c:pt>
                <c:pt idx="212">
                  <c:v>44580</c:v>
                </c:pt>
                <c:pt idx="213">
                  <c:v>44581</c:v>
                </c:pt>
                <c:pt idx="214">
                  <c:v>44582</c:v>
                </c:pt>
                <c:pt idx="215">
                  <c:v>44583</c:v>
                </c:pt>
                <c:pt idx="216">
                  <c:v>44584</c:v>
                </c:pt>
                <c:pt idx="217">
                  <c:v>44585</c:v>
                </c:pt>
                <c:pt idx="218">
                  <c:v>44586</c:v>
                </c:pt>
                <c:pt idx="219">
                  <c:v>44587</c:v>
                </c:pt>
                <c:pt idx="220">
                  <c:v>44588</c:v>
                </c:pt>
                <c:pt idx="221">
                  <c:v>44589</c:v>
                </c:pt>
                <c:pt idx="222">
                  <c:v>44590</c:v>
                </c:pt>
                <c:pt idx="223">
                  <c:v>44591</c:v>
                </c:pt>
                <c:pt idx="224">
                  <c:v>44592</c:v>
                </c:pt>
                <c:pt idx="225">
                  <c:v>44593</c:v>
                </c:pt>
                <c:pt idx="226">
                  <c:v>44594</c:v>
                </c:pt>
                <c:pt idx="227">
                  <c:v>44595</c:v>
                </c:pt>
                <c:pt idx="228">
                  <c:v>44596</c:v>
                </c:pt>
                <c:pt idx="229">
                  <c:v>44597</c:v>
                </c:pt>
                <c:pt idx="230">
                  <c:v>44598</c:v>
                </c:pt>
                <c:pt idx="231">
                  <c:v>44599</c:v>
                </c:pt>
                <c:pt idx="232">
                  <c:v>44600</c:v>
                </c:pt>
                <c:pt idx="233">
                  <c:v>44601</c:v>
                </c:pt>
                <c:pt idx="234">
                  <c:v>44602</c:v>
                </c:pt>
                <c:pt idx="235">
                  <c:v>44603</c:v>
                </c:pt>
                <c:pt idx="236">
                  <c:v>44604</c:v>
                </c:pt>
                <c:pt idx="237">
                  <c:v>44605</c:v>
                </c:pt>
                <c:pt idx="238">
                  <c:v>44606</c:v>
                </c:pt>
                <c:pt idx="239">
                  <c:v>44607</c:v>
                </c:pt>
                <c:pt idx="240">
                  <c:v>44608</c:v>
                </c:pt>
                <c:pt idx="241">
                  <c:v>44609</c:v>
                </c:pt>
                <c:pt idx="242">
                  <c:v>44610</c:v>
                </c:pt>
                <c:pt idx="243">
                  <c:v>44611</c:v>
                </c:pt>
                <c:pt idx="244">
                  <c:v>44612</c:v>
                </c:pt>
                <c:pt idx="245">
                  <c:v>44613</c:v>
                </c:pt>
                <c:pt idx="246">
                  <c:v>44614</c:v>
                </c:pt>
                <c:pt idx="247">
                  <c:v>44615</c:v>
                </c:pt>
                <c:pt idx="248">
                  <c:v>44616</c:v>
                </c:pt>
                <c:pt idx="249">
                  <c:v>44617</c:v>
                </c:pt>
                <c:pt idx="250">
                  <c:v>44618</c:v>
                </c:pt>
                <c:pt idx="251">
                  <c:v>44619</c:v>
                </c:pt>
                <c:pt idx="252">
                  <c:v>44620</c:v>
                </c:pt>
                <c:pt idx="253">
                  <c:v>44621</c:v>
                </c:pt>
                <c:pt idx="254">
                  <c:v>44622</c:v>
                </c:pt>
                <c:pt idx="255">
                  <c:v>44623</c:v>
                </c:pt>
                <c:pt idx="256">
                  <c:v>44624</c:v>
                </c:pt>
              </c:numCache>
            </c:numRef>
          </c:cat>
          <c:val>
            <c:numRef>
              <c:f>Sheet1!$B$135:$B$391</c:f>
              <c:numCache>
                <c:formatCode>General</c:formatCode>
                <c:ptCount val="257"/>
                <c:pt idx="0">
                  <c:v>2</c:v>
                </c:pt>
                <c:pt idx="1">
                  <c:v>3</c:v>
                </c:pt>
                <c:pt idx="2">
                  <c:v>1</c:v>
                </c:pt>
                <c:pt idx="3">
                  <c:v>0</c:v>
                </c:pt>
                <c:pt idx="4">
                  <c:v>0</c:v>
                </c:pt>
                <c:pt idx="5">
                  <c:v>3</c:v>
                </c:pt>
                <c:pt idx="6">
                  <c:v>1</c:v>
                </c:pt>
                <c:pt idx="7">
                  <c:v>0</c:v>
                </c:pt>
                <c:pt idx="8">
                  <c:v>1</c:v>
                </c:pt>
                <c:pt idx="9">
                  <c:v>1</c:v>
                </c:pt>
                <c:pt idx="10">
                  <c:v>2</c:v>
                </c:pt>
                <c:pt idx="11">
                  <c:v>1</c:v>
                </c:pt>
                <c:pt idx="12">
                  <c:v>2</c:v>
                </c:pt>
                <c:pt idx="13">
                  <c:v>1</c:v>
                </c:pt>
                <c:pt idx="14">
                  <c:v>4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1</c:v>
                </c:pt>
                <c:pt idx="19">
                  <c:v>1</c:v>
                </c:pt>
                <c:pt idx="20">
                  <c:v>0</c:v>
                </c:pt>
                <c:pt idx="21">
                  <c:v>3</c:v>
                </c:pt>
                <c:pt idx="22">
                  <c:v>3</c:v>
                </c:pt>
                <c:pt idx="23">
                  <c:v>3</c:v>
                </c:pt>
                <c:pt idx="24">
                  <c:v>3</c:v>
                </c:pt>
                <c:pt idx="25">
                  <c:v>0</c:v>
                </c:pt>
                <c:pt idx="26">
                  <c:v>0</c:v>
                </c:pt>
                <c:pt idx="27">
                  <c:v>2</c:v>
                </c:pt>
                <c:pt idx="28">
                  <c:v>5</c:v>
                </c:pt>
                <c:pt idx="29">
                  <c:v>1</c:v>
                </c:pt>
                <c:pt idx="30">
                  <c:v>4</c:v>
                </c:pt>
                <c:pt idx="31">
                  <c:v>0</c:v>
                </c:pt>
                <c:pt idx="32">
                  <c:v>4</c:v>
                </c:pt>
                <c:pt idx="33">
                  <c:v>1</c:v>
                </c:pt>
                <c:pt idx="34">
                  <c:v>1</c:v>
                </c:pt>
                <c:pt idx="35">
                  <c:v>3</c:v>
                </c:pt>
                <c:pt idx="36">
                  <c:v>0</c:v>
                </c:pt>
                <c:pt idx="37">
                  <c:v>0</c:v>
                </c:pt>
                <c:pt idx="38">
                  <c:v>2</c:v>
                </c:pt>
                <c:pt idx="39">
                  <c:v>2</c:v>
                </c:pt>
                <c:pt idx="40">
                  <c:v>1</c:v>
                </c:pt>
                <c:pt idx="41">
                  <c:v>0</c:v>
                </c:pt>
                <c:pt idx="42">
                  <c:v>0</c:v>
                </c:pt>
                <c:pt idx="43">
                  <c:v>2</c:v>
                </c:pt>
                <c:pt idx="44">
                  <c:v>2</c:v>
                </c:pt>
                <c:pt idx="45">
                  <c:v>1</c:v>
                </c:pt>
                <c:pt idx="46">
                  <c:v>1</c:v>
                </c:pt>
                <c:pt idx="47">
                  <c:v>0</c:v>
                </c:pt>
                <c:pt idx="48">
                  <c:v>0</c:v>
                </c:pt>
                <c:pt idx="49">
                  <c:v>2</c:v>
                </c:pt>
                <c:pt idx="50">
                  <c:v>2</c:v>
                </c:pt>
                <c:pt idx="51">
                  <c:v>2</c:v>
                </c:pt>
                <c:pt idx="52">
                  <c:v>1</c:v>
                </c:pt>
                <c:pt idx="53">
                  <c:v>2</c:v>
                </c:pt>
                <c:pt idx="54">
                  <c:v>3</c:v>
                </c:pt>
                <c:pt idx="55">
                  <c:v>1</c:v>
                </c:pt>
                <c:pt idx="56">
                  <c:v>3</c:v>
                </c:pt>
                <c:pt idx="57">
                  <c:v>3</c:v>
                </c:pt>
                <c:pt idx="58">
                  <c:v>2</c:v>
                </c:pt>
                <c:pt idx="59">
                  <c:v>1</c:v>
                </c:pt>
                <c:pt idx="60">
                  <c:v>0</c:v>
                </c:pt>
                <c:pt idx="61">
                  <c:v>0</c:v>
                </c:pt>
                <c:pt idx="62">
                  <c:v>1</c:v>
                </c:pt>
                <c:pt idx="63">
                  <c:v>5</c:v>
                </c:pt>
                <c:pt idx="64">
                  <c:v>2</c:v>
                </c:pt>
                <c:pt idx="65">
                  <c:v>0</c:v>
                </c:pt>
                <c:pt idx="66">
                  <c:v>2</c:v>
                </c:pt>
                <c:pt idx="67">
                  <c:v>1</c:v>
                </c:pt>
                <c:pt idx="68">
                  <c:v>2</c:v>
                </c:pt>
                <c:pt idx="69">
                  <c:v>1</c:v>
                </c:pt>
                <c:pt idx="70">
                  <c:v>0</c:v>
                </c:pt>
                <c:pt idx="71">
                  <c:v>2</c:v>
                </c:pt>
                <c:pt idx="72">
                  <c:v>1</c:v>
                </c:pt>
                <c:pt idx="73">
                  <c:v>6</c:v>
                </c:pt>
                <c:pt idx="74">
                  <c:v>6</c:v>
                </c:pt>
                <c:pt idx="75">
                  <c:v>1</c:v>
                </c:pt>
                <c:pt idx="76">
                  <c:v>1</c:v>
                </c:pt>
                <c:pt idx="77">
                  <c:v>2</c:v>
                </c:pt>
                <c:pt idx="78">
                  <c:v>6</c:v>
                </c:pt>
                <c:pt idx="79">
                  <c:v>1</c:v>
                </c:pt>
                <c:pt idx="80">
                  <c:v>4</c:v>
                </c:pt>
                <c:pt idx="81">
                  <c:v>0</c:v>
                </c:pt>
                <c:pt idx="82">
                  <c:v>1</c:v>
                </c:pt>
                <c:pt idx="83">
                  <c:v>2</c:v>
                </c:pt>
                <c:pt idx="84">
                  <c:v>3</c:v>
                </c:pt>
                <c:pt idx="85">
                  <c:v>5</c:v>
                </c:pt>
                <c:pt idx="86">
                  <c:v>3</c:v>
                </c:pt>
                <c:pt idx="87">
                  <c:v>8</c:v>
                </c:pt>
                <c:pt idx="88">
                  <c:v>5</c:v>
                </c:pt>
                <c:pt idx="89">
                  <c:v>2</c:v>
                </c:pt>
                <c:pt idx="90">
                  <c:v>2</c:v>
                </c:pt>
                <c:pt idx="91">
                  <c:v>9</c:v>
                </c:pt>
                <c:pt idx="92">
                  <c:v>7</c:v>
                </c:pt>
                <c:pt idx="93">
                  <c:v>5</c:v>
                </c:pt>
                <c:pt idx="94">
                  <c:v>5</c:v>
                </c:pt>
                <c:pt idx="95">
                  <c:v>7</c:v>
                </c:pt>
                <c:pt idx="96">
                  <c:v>6</c:v>
                </c:pt>
                <c:pt idx="97">
                  <c:v>6</c:v>
                </c:pt>
                <c:pt idx="98">
                  <c:v>5</c:v>
                </c:pt>
                <c:pt idx="99">
                  <c:v>9</c:v>
                </c:pt>
                <c:pt idx="100">
                  <c:v>12</c:v>
                </c:pt>
                <c:pt idx="101">
                  <c:v>16</c:v>
                </c:pt>
                <c:pt idx="102">
                  <c:v>8</c:v>
                </c:pt>
                <c:pt idx="103">
                  <c:v>5</c:v>
                </c:pt>
                <c:pt idx="104">
                  <c:v>8</c:v>
                </c:pt>
                <c:pt idx="105">
                  <c:v>10</c:v>
                </c:pt>
                <c:pt idx="106">
                  <c:v>14</c:v>
                </c:pt>
                <c:pt idx="107">
                  <c:v>8</c:v>
                </c:pt>
                <c:pt idx="108">
                  <c:v>8</c:v>
                </c:pt>
                <c:pt idx="109">
                  <c:v>9</c:v>
                </c:pt>
                <c:pt idx="110">
                  <c:v>5</c:v>
                </c:pt>
                <c:pt idx="111">
                  <c:v>4</c:v>
                </c:pt>
                <c:pt idx="112">
                  <c:v>18</c:v>
                </c:pt>
                <c:pt idx="113">
                  <c:v>19</c:v>
                </c:pt>
                <c:pt idx="114">
                  <c:v>22</c:v>
                </c:pt>
                <c:pt idx="115">
                  <c:v>21</c:v>
                </c:pt>
                <c:pt idx="116">
                  <c:v>17</c:v>
                </c:pt>
                <c:pt idx="117">
                  <c:v>10</c:v>
                </c:pt>
                <c:pt idx="118">
                  <c:v>10</c:v>
                </c:pt>
                <c:pt idx="119">
                  <c:v>35</c:v>
                </c:pt>
                <c:pt idx="120">
                  <c:v>28</c:v>
                </c:pt>
                <c:pt idx="121">
                  <c:v>27</c:v>
                </c:pt>
                <c:pt idx="122">
                  <c:v>53</c:v>
                </c:pt>
                <c:pt idx="123">
                  <c:v>43</c:v>
                </c:pt>
                <c:pt idx="124">
                  <c:v>34</c:v>
                </c:pt>
                <c:pt idx="125">
                  <c:v>12</c:v>
                </c:pt>
                <c:pt idx="126">
                  <c:v>65</c:v>
                </c:pt>
                <c:pt idx="127">
                  <c:v>68</c:v>
                </c:pt>
                <c:pt idx="128">
                  <c:v>75</c:v>
                </c:pt>
                <c:pt idx="129">
                  <c:v>33</c:v>
                </c:pt>
                <c:pt idx="130">
                  <c:v>82</c:v>
                </c:pt>
                <c:pt idx="131">
                  <c:v>62</c:v>
                </c:pt>
                <c:pt idx="132">
                  <c:v>37</c:v>
                </c:pt>
                <c:pt idx="133">
                  <c:v>111</c:v>
                </c:pt>
                <c:pt idx="134">
                  <c:v>103</c:v>
                </c:pt>
                <c:pt idx="135">
                  <c:v>116</c:v>
                </c:pt>
                <c:pt idx="136">
                  <c:v>103</c:v>
                </c:pt>
                <c:pt idx="137">
                  <c:v>109</c:v>
                </c:pt>
                <c:pt idx="138">
                  <c:v>84</c:v>
                </c:pt>
                <c:pt idx="139">
                  <c:v>27</c:v>
                </c:pt>
                <c:pt idx="140">
                  <c:v>134</c:v>
                </c:pt>
                <c:pt idx="141">
                  <c:v>146</c:v>
                </c:pt>
                <c:pt idx="142">
                  <c:v>168</c:v>
                </c:pt>
                <c:pt idx="143">
                  <c:v>97</c:v>
                </c:pt>
                <c:pt idx="144">
                  <c:v>161</c:v>
                </c:pt>
                <c:pt idx="145">
                  <c:v>98</c:v>
                </c:pt>
                <c:pt idx="146">
                  <c:v>54</c:v>
                </c:pt>
                <c:pt idx="147">
                  <c:v>157</c:v>
                </c:pt>
                <c:pt idx="148">
                  <c:v>227</c:v>
                </c:pt>
                <c:pt idx="149">
                  <c:v>122</c:v>
                </c:pt>
                <c:pt idx="150">
                  <c:v>168</c:v>
                </c:pt>
                <c:pt idx="151">
                  <c:v>234</c:v>
                </c:pt>
                <c:pt idx="152">
                  <c:v>155</c:v>
                </c:pt>
                <c:pt idx="153">
                  <c:v>84</c:v>
                </c:pt>
                <c:pt idx="154">
                  <c:v>189</c:v>
                </c:pt>
                <c:pt idx="155">
                  <c:v>256</c:v>
                </c:pt>
                <c:pt idx="156">
                  <c:v>138</c:v>
                </c:pt>
                <c:pt idx="157">
                  <c:v>217</c:v>
                </c:pt>
                <c:pt idx="158">
                  <c:v>184</c:v>
                </c:pt>
                <c:pt idx="159">
                  <c:v>107</c:v>
                </c:pt>
                <c:pt idx="160">
                  <c:v>78</c:v>
                </c:pt>
                <c:pt idx="161">
                  <c:v>206</c:v>
                </c:pt>
                <c:pt idx="162">
                  <c:v>166</c:v>
                </c:pt>
                <c:pt idx="163">
                  <c:v>177</c:v>
                </c:pt>
                <c:pt idx="164">
                  <c:v>150</c:v>
                </c:pt>
                <c:pt idx="165">
                  <c:v>145</c:v>
                </c:pt>
                <c:pt idx="166">
                  <c:v>84</c:v>
                </c:pt>
                <c:pt idx="167">
                  <c:v>67</c:v>
                </c:pt>
                <c:pt idx="168">
                  <c:v>169</c:v>
                </c:pt>
                <c:pt idx="169">
                  <c:v>153</c:v>
                </c:pt>
                <c:pt idx="170">
                  <c:v>119</c:v>
                </c:pt>
                <c:pt idx="171">
                  <c:v>125</c:v>
                </c:pt>
                <c:pt idx="172">
                  <c:v>112</c:v>
                </c:pt>
                <c:pt idx="173">
                  <c:v>73</c:v>
                </c:pt>
                <c:pt idx="174">
                  <c:v>58</c:v>
                </c:pt>
                <c:pt idx="175">
                  <c:v>103</c:v>
                </c:pt>
                <c:pt idx="176">
                  <c:v>126</c:v>
                </c:pt>
                <c:pt idx="177">
                  <c:v>87</c:v>
                </c:pt>
                <c:pt idx="178">
                  <c:v>67</c:v>
                </c:pt>
                <c:pt idx="179">
                  <c:v>81</c:v>
                </c:pt>
                <c:pt idx="180">
                  <c:v>47</c:v>
                </c:pt>
                <c:pt idx="181">
                  <c:v>34</c:v>
                </c:pt>
                <c:pt idx="182">
                  <c:v>90</c:v>
                </c:pt>
                <c:pt idx="183">
                  <c:v>83</c:v>
                </c:pt>
                <c:pt idx="184">
                  <c:v>52</c:v>
                </c:pt>
                <c:pt idx="185">
                  <c:v>59</c:v>
                </c:pt>
                <c:pt idx="186">
                  <c:v>22</c:v>
                </c:pt>
                <c:pt idx="187">
                  <c:v>18</c:v>
                </c:pt>
                <c:pt idx="188">
                  <c:v>19</c:v>
                </c:pt>
                <c:pt idx="189">
                  <c:v>75</c:v>
                </c:pt>
                <c:pt idx="190">
                  <c:v>93</c:v>
                </c:pt>
                <c:pt idx="191">
                  <c:v>56</c:v>
                </c:pt>
                <c:pt idx="192">
                  <c:v>52</c:v>
                </c:pt>
                <c:pt idx="193">
                  <c:v>53</c:v>
                </c:pt>
                <c:pt idx="194">
                  <c:v>12</c:v>
                </c:pt>
                <c:pt idx="195">
                  <c:v>35</c:v>
                </c:pt>
                <c:pt idx="196">
                  <c:v>100</c:v>
                </c:pt>
                <c:pt idx="197">
                  <c:v>81</c:v>
                </c:pt>
                <c:pt idx="198">
                  <c:v>56</c:v>
                </c:pt>
                <c:pt idx="199">
                  <c:v>59</c:v>
                </c:pt>
                <c:pt idx="200">
                  <c:v>66</c:v>
                </c:pt>
                <c:pt idx="201">
                  <c:v>37</c:v>
                </c:pt>
                <c:pt idx="202">
                  <c:v>31</c:v>
                </c:pt>
                <c:pt idx="203">
                  <c:v>72</c:v>
                </c:pt>
                <c:pt idx="204">
                  <c:v>107</c:v>
                </c:pt>
                <c:pt idx="205">
                  <c:v>115</c:v>
                </c:pt>
                <c:pt idx="206">
                  <c:v>98</c:v>
                </c:pt>
                <c:pt idx="207">
                  <c:v>113</c:v>
                </c:pt>
                <c:pt idx="208">
                  <c:v>92</c:v>
                </c:pt>
                <c:pt idx="209">
                  <c:v>66</c:v>
                </c:pt>
                <c:pt idx="210">
                  <c:v>239</c:v>
                </c:pt>
                <c:pt idx="211">
                  <c:v>266</c:v>
                </c:pt>
                <c:pt idx="212">
                  <c:v>287</c:v>
                </c:pt>
                <c:pt idx="213">
                  <c:v>288</c:v>
                </c:pt>
                <c:pt idx="214">
                  <c:v>310</c:v>
                </c:pt>
                <c:pt idx="215">
                  <c:v>172</c:v>
                </c:pt>
                <c:pt idx="216">
                  <c:v>183</c:v>
                </c:pt>
                <c:pt idx="217">
                  <c:v>417</c:v>
                </c:pt>
                <c:pt idx="218">
                  <c:v>381</c:v>
                </c:pt>
                <c:pt idx="219">
                  <c:v>441</c:v>
                </c:pt>
                <c:pt idx="220">
                  <c:v>806</c:v>
                </c:pt>
                <c:pt idx="221">
                  <c:v>605</c:v>
                </c:pt>
                <c:pt idx="222">
                  <c:v>215</c:v>
                </c:pt>
                <c:pt idx="223">
                  <c:v>327</c:v>
                </c:pt>
                <c:pt idx="224">
                  <c:v>634</c:v>
                </c:pt>
                <c:pt idx="225">
                  <c:v>709</c:v>
                </c:pt>
                <c:pt idx="226">
                  <c:v>567</c:v>
                </c:pt>
                <c:pt idx="227">
                  <c:v>546</c:v>
                </c:pt>
                <c:pt idx="228">
                  <c:v>407</c:v>
                </c:pt>
                <c:pt idx="229">
                  <c:v>341</c:v>
                </c:pt>
                <c:pt idx="230">
                  <c:v>175</c:v>
                </c:pt>
                <c:pt idx="231">
                  <c:v>620</c:v>
                </c:pt>
                <c:pt idx="232">
                  <c:v>543</c:v>
                </c:pt>
                <c:pt idx="233">
                  <c:v>426</c:v>
                </c:pt>
                <c:pt idx="234">
                  <c:v>371</c:v>
                </c:pt>
                <c:pt idx="235">
                  <c:v>353</c:v>
                </c:pt>
                <c:pt idx="236">
                  <c:v>197</c:v>
                </c:pt>
                <c:pt idx="237">
                  <c:v>146</c:v>
                </c:pt>
                <c:pt idx="238">
                  <c:v>416</c:v>
                </c:pt>
                <c:pt idx="239">
                  <c:v>414</c:v>
                </c:pt>
                <c:pt idx="240">
                  <c:v>311</c:v>
                </c:pt>
                <c:pt idx="241">
                  <c:v>273</c:v>
                </c:pt>
                <c:pt idx="242">
                  <c:v>240</c:v>
                </c:pt>
                <c:pt idx="243">
                  <c:v>130</c:v>
                </c:pt>
                <c:pt idx="244">
                  <c:v>90</c:v>
                </c:pt>
                <c:pt idx="245">
                  <c:v>302</c:v>
                </c:pt>
                <c:pt idx="246">
                  <c:v>239</c:v>
                </c:pt>
                <c:pt idx="247">
                  <c:v>176</c:v>
                </c:pt>
                <c:pt idx="248">
                  <c:v>167</c:v>
                </c:pt>
                <c:pt idx="249">
                  <c:v>160</c:v>
                </c:pt>
                <c:pt idx="250">
                  <c:v>99</c:v>
                </c:pt>
                <c:pt idx="251">
                  <c:v>74</c:v>
                </c:pt>
                <c:pt idx="252">
                  <c:v>226</c:v>
                </c:pt>
                <c:pt idx="253">
                  <c:v>215</c:v>
                </c:pt>
                <c:pt idx="254">
                  <c:v>158</c:v>
                </c:pt>
                <c:pt idx="255">
                  <c:v>152</c:v>
                </c:pt>
                <c:pt idx="256">
                  <c:v>16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30B2-4BBE-A912-02DA2889190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dateAx>
        <c:axId val="417147840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1"/>
        <c:majorTimeUnit val="days"/>
      </c:dateAx>
      <c:valAx>
        <c:axId val="419321824"/>
        <c:scaling>
          <c:orientation val="minMax"/>
          <c:min val="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519856463840257E-2"/>
          <c:y val="1.7338673528478215E-2"/>
          <c:w val="0.80334957098880577"/>
          <c:h val="0.7587762916834988"/>
        </c:manualLayout>
      </c:layout>
      <c:lineChart>
        <c:grouping val="standar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2020</c:v>
                </c:pt>
              </c:strCache>
            </c:strRef>
          </c:tx>
          <c:spPr>
            <a:ln w="28575" cap="rnd">
              <a:solidFill>
                <a:srgbClr val="00B0F0"/>
              </a:solidFill>
              <a:prstDash val="sysDash"/>
              <a:round/>
            </a:ln>
            <a:effectLst/>
          </c:spPr>
          <c:marker>
            <c:symbol val="none"/>
          </c:marker>
          <c:cat>
            <c:strRef>
              <c:f>List1!$B$1:$BB$1</c:f>
              <c:strCache>
                <c:ptCount val="53"/>
                <c:pt idx="0">
                  <c:v>01.01 - 07.01</c:v>
                </c:pt>
                <c:pt idx="1">
                  <c:v>08.01 - 14.01</c:v>
                </c:pt>
                <c:pt idx="2">
                  <c:v>15.01 - 21.01</c:v>
                </c:pt>
                <c:pt idx="3">
                  <c:v>22.01 - 28.01</c:v>
                </c:pt>
                <c:pt idx="4">
                  <c:v>29.01 - 04.02</c:v>
                </c:pt>
                <c:pt idx="5">
                  <c:v>05.02 - 11.02</c:v>
                </c:pt>
                <c:pt idx="6">
                  <c:v>12.02 - 18.02</c:v>
                </c:pt>
                <c:pt idx="7">
                  <c:v>19.02 - 25.02</c:v>
                </c:pt>
                <c:pt idx="8">
                  <c:v>26.02 - 04.03</c:v>
                </c:pt>
                <c:pt idx="9">
                  <c:v>05.03 - 10.03</c:v>
                </c:pt>
                <c:pt idx="10">
                  <c:v>11.03 - 17.03</c:v>
                </c:pt>
                <c:pt idx="11">
                  <c:v>18.03 - 24.03</c:v>
                </c:pt>
                <c:pt idx="12">
                  <c:v>25.03 - 31.03</c:v>
                </c:pt>
                <c:pt idx="13">
                  <c:v>01.04 - 07.04</c:v>
                </c:pt>
                <c:pt idx="14">
                  <c:v>08.04 - 14.04</c:v>
                </c:pt>
                <c:pt idx="15">
                  <c:v>15.04 - 21.04</c:v>
                </c:pt>
                <c:pt idx="16">
                  <c:v>22.04 - 28.04</c:v>
                </c:pt>
                <c:pt idx="17">
                  <c:v>29.04 - 05.05</c:v>
                </c:pt>
                <c:pt idx="18">
                  <c:v>06.05 - 12.05</c:v>
                </c:pt>
                <c:pt idx="19">
                  <c:v>13.05 - 19.05</c:v>
                </c:pt>
                <c:pt idx="20">
                  <c:v>20.05 - 26.05</c:v>
                </c:pt>
                <c:pt idx="21">
                  <c:v>27.05 - 02.06</c:v>
                </c:pt>
                <c:pt idx="22">
                  <c:v>03.06 - 09.06</c:v>
                </c:pt>
                <c:pt idx="23">
                  <c:v>10.06 - 16.06</c:v>
                </c:pt>
                <c:pt idx="24">
                  <c:v>17.06 - 23.06</c:v>
                </c:pt>
                <c:pt idx="25">
                  <c:v>24.06 - 30.06</c:v>
                </c:pt>
                <c:pt idx="26">
                  <c:v>01.07 - 07.07</c:v>
                </c:pt>
                <c:pt idx="27">
                  <c:v>08.07 - 14.07</c:v>
                </c:pt>
                <c:pt idx="28">
                  <c:v>15.07 - 21.07</c:v>
                </c:pt>
                <c:pt idx="29">
                  <c:v>22.07 - 28.07</c:v>
                </c:pt>
                <c:pt idx="30">
                  <c:v>29.07 - 04.08</c:v>
                </c:pt>
                <c:pt idx="31">
                  <c:v>05.08 - 11.08</c:v>
                </c:pt>
                <c:pt idx="32">
                  <c:v>12.08 - 18.08</c:v>
                </c:pt>
                <c:pt idx="33">
                  <c:v>19.08 - 25.08</c:v>
                </c:pt>
                <c:pt idx="34">
                  <c:v>26.08 - 01.09</c:v>
                </c:pt>
                <c:pt idx="35">
                  <c:v>02.09 - 08.09</c:v>
                </c:pt>
                <c:pt idx="36">
                  <c:v>09.09 - 15.09</c:v>
                </c:pt>
                <c:pt idx="37">
                  <c:v>16.09 - 22.09</c:v>
                </c:pt>
                <c:pt idx="38">
                  <c:v>23.09 - 29.09</c:v>
                </c:pt>
                <c:pt idx="39">
                  <c:v>30.09 - 06.10</c:v>
                </c:pt>
                <c:pt idx="40">
                  <c:v>07.10 - 13.10</c:v>
                </c:pt>
                <c:pt idx="41">
                  <c:v>14.10 - 20.10</c:v>
                </c:pt>
                <c:pt idx="42">
                  <c:v>21.10 - 27.10</c:v>
                </c:pt>
                <c:pt idx="43">
                  <c:v>28.10 - 03.11</c:v>
                </c:pt>
                <c:pt idx="44">
                  <c:v>04.11 - 10.11</c:v>
                </c:pt>
                <c:pt idx="45">
                  <c:v>11.11 - 17.11</c:v>
                </c:pt>
                <c:pt idx="46">
                  <c:v>18.11 - 24.11</c:v>
                </c:pt>
                <c:pt idx="47">
                  <c:v>25.11 - 01.12</c:v>
                </c:pt>
                <c:pt idx="48">
                  <c:v>02.12 - 08.12</c:v>
                </c:pt>
                <c:pt idx="49">
                  <c:v>09.12 - 15.12</c:v>
                </c:pt>
                <c:pt idx="50">
                  <c:v>16.12 - 22.12</c:v>
                </c:pt>
                <c:pt idx="51">
                  <c:v>23.12 - 29.12</c:v>
                </c:pt>
                <c:pt idx="52">
                  <c:v>30.12 - 31.12</c:v>
                </c:pt>
              </c:strCache>
            </c:strRef>
          </c:cat>
          <c:val>
            <c:numRef>
              <c:f>List1!$B$2:$BB$2</c:f>
              <c:numCache>
                <c:formatCode>General</c:formatCode>
                <c:ptCount val="53"/>
                <c:pt idx="9">
                  <c:v>0</c:v>
                </c:pt>
                <c:pt idx="10">
                  <c:v>1.2684381</c:v>
                </c:pt>
                <c:pt idx="11">
                  <c:v>3.8053143999999999</c:v>
                </c:pt>
                <c:pt idx="12">
                  <c:v>10.429380399999999</c:v>
                </c:pt>
                <c:pt idx="13">
                  <c:v>14.9411094</c:v>
                </c:pt>
                <c:pt idx="14">
                  <c:v>7.4720081</c:v>
                </c:pt>
                <c:pt idx="15">
                  <c:v>7.8964771000000002</c:v>
                </c:pt>
                <c:pt idx="16">
                  <c:v>4.6541803000000002</c:v>
                </c:pt>
                <c:pt idx="17">
                  <c:v>5.0781112000000004</c:v>
                </c:pt>
                <c:pt idx="18">
                  <c:v>2.9623276000000001</c:v>
                </c:pt>
                <c:pt idx="19">
                  <c:v>0.84639960000000003</c:v>
                </c:pt>
                <c:pt idx="20">
                  <c:v>0.70534889999999995</c:v>
                </c:pt>
                <c:pt idx="21">
                  <c:v>1.5518027000000001</c:v>
                </c:pt>
                <c:pt idx="22">
                  <c:v>1.6929425</c:v>
                </c:pt>
                <c:pt idx="23">
                  <c:v>2.1162766999999998</c:v>
                </c:pt>
                <c:pt idx="24">
                  <c:v>1.9752751</c:v>
                </c:pt>
                <c:pt idx="25">
                  <c:v>1.1287811999999999</c:v>
                </c:pt>
                <c:pt idx="26">
                  <c:v>1.9752835</c:v>
                </c:pt>
                <c:pt idx="27">
                  <c:v>3.2447241</c:v>
                </c:pt>
                <c:pt idx="28">
                  <c:v>2.3979902000000002</c:v>
                </c:pt>
                <c:pt idx="29">
                  <c:v>5.3595782999999999</c:v>
                </c:pt>
                <c:pt idx="30">
                  <c:v>3.6667127000000002</c:v>
                </c:pt>
                <c:pt idx="31">
                  <c:v>3.5255559999999999</c:v>
                </c:pt>
                <c:pt idx="32">
                  <c:v>5.3586789000000001</c:v>
                </c:pt>
                <c:pt idx="33">
                  <c:v>5.2174991999999998</c:v>
                </c:pt>
                <c:pt idx="34">
                  <c:v>9.1653470000000006</c:v>
                </c:pt>
                <c:pt idx="35">
                  <c:v>14.3694556</c:v>
                </c:pt>
                <c:pt idx="36">
                  <c:v>29.405102400000001</c:v>
                </c:pt>
                <c:pt idx="37">
                  <c:v>38.219370699999999</c:v>
                </c:pt>
                <c:pt idx="38">
                  <c:v>55.009591499999999</c:v>
                </c:pt>
                <c:pt idx="39">
                  <c:v>92.633207499999997</c:v>
                </c:pt>
                <c:pt idx="40">
                  <c:v>198.08411359999999</c:v>
                </c:pt>
                <c:pt idx="41">
                  <c:v>333.37948060000002</c:v>
                </c:pt>
                <c:pt idx="42">
                  <c:v>470.485027</c:v>
                </c:pt>
                <c:pt idx="43">
                  <c:v>366.44706819999999</c:v>
                </c:pt>
                <c:pt idx="44">
                  <c:v>283.82596280000001</c:v>
                </c:pt>
                <c:pt idx="45">
                  <c:v>184.10589569999999</c:v>
                </c:pt>
                <c:pt idx="46">
                  <c:v>177.24206340000001</c:v>
                </c:pt>
                <c:pt idx="47">
                  <c:v>134.53226409999999</c:v>
                </c:pt>
                <c:pt idx="48">
                  <c:v>166.5967885</c:v>
                </c:pt>
                <c:pt idx="49">
                  <c:v>167.13686910000001</c:v>
                </c:pt>
                <c:pt idx="50">
                  <c:v>193.86693159999999</c:v>
                </c:pt>
                <c:pt idx="51">
                  <c:v>198.9497336</c:v>
                </c:pt>
                <c:pt idx="52">
                  <c:v>299.7694824999999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BC63-4AAB-97B9-1EE2E94FBFD2}"/>
            </c:ext>
          </c:extLst>
        </c:ser>
        <c:ser>
          <c:idx val="1"/>
          <c:order val="1"/>
          <c:tx>
            <c:strRef>
              <c:f>List1!$A$3</c:f>
              <c:strCache>
                <c:ptCount val="1"/>
                <c:pt idx="0">
                  <c:v>2021</c:v>
                </c:pt>
              </c:strCache>
            </c:strRef>
          </c:tx>
          <c:spPr>
            <a:ln w="28575" cap="rnd">
              <a:solidFill>
                <a:srgbClr val="00B050"/>
              </a:solidFill>
              <a:round/>
            </a:ln>
            <a:effectLst/>
          </c:spPr>
          <c:marker>
            <c:symbol val="none"/>
          </c:marker>
          <c:cat>
            <c:strRef>
              <c:f>List1!$B$1:$BB$1</c:f>
              <c:strCache>
                <c:ptCount val="53"/>
                <c:pt idx="0">
                  <c:v>01.01 - 07.01</c:v>
                </c:pt>
                <c:pt idx="1">
                  <c:v>08.01 - 14.01</c:v>
                </c:pt>
                <c:pt idx="2">
                  <c:v>15.01 - 21.01</c:v>
                </c:pt>
                <c:pt idx="3">
                  <c:v>22.01 - 28.01</c:v>
                </c:pt>
                <c:pt idx="4">
                  <c:v>29.01 - 04.02</c:v>
                </c:pt>
                <c:pt idx="5">
                  <c:v>05.02 - 11.02</c:v>
                </c:pt>
                <c:pt idx="6">
                  <c:v>12.02 - 18.02</c:v>
                </c:pt>
                <c:pt idx="7">
                  <c:v>19.02 - 25.02</c:v>
                </c:pt>
                <c:pt idx="8">
                  <c:v>26.02 - 04.03</c:v>
                </c:pt>
                <c:pt idx="9">
                  <c:v>05.03 - 10.03</c:v>
                </c:pt>
                <c:pt idx="10">
                  <c:v>11.03 - 17.03</c:v>
                </c:pt>
                <c:pt idx="11">
                  <c:v>18.03 - 24.03</c:v>
                </c:pt>
                <c:pt idx="12">
                  <c:v>25.03 - 31.03</c:v>
                </c:pt>
                <c:pt idx="13">
                  <c:v>01.04 - 07.04</c:v>
                </c:pt>
                <c:pt idx="14">
                  <c:v>08.04 - 14.04</c:v>
                </c:pt>
                <c:pt idx="15">
                  <c:v>15.04 - 21.04</c:v>
                </c:pt>
                <c:pt idx="16">
                  <c:v>22.04 - 28.04</c:v>
                </c:pt>
                <c:pt idx="17">
                  <c:v>29.04 - 05.05</c:v>
                </c:pt>
                <c:pt idx="18">
                  <c:v>06.05 - 12.05</c:v>
                </c:pt>
                <c:pt idx="19">
                  <c:v>13.05 - 19.05</c:v>
                </c:pt>
                <c:pt idx="20">
                  <c:v>20.05 - 26.05</c:v>
                </c:pt>
                <c:pt idx="21">
                  <c:v>27.05 - 02.06</c:v>
                </c:pt>
                <c:pt idx="22">
                  <c:v>03.06 - 09.06</c:v>
                </c:pt>
                <c:pt idx="23">
                  <c:v>10.06 - 16.06</c:v>
                </c:pt>
                <c:pt idx="24">
                  <c:v>17.06 - 23.06</c:v>
                </c:pt>
                <c:pt idx="25">
                  <c:v>24.06 - 30.06</c:v>
                </c:pt>
                <c:pt idx="26">
                  <c:v>01.07 - 07.07</c:v>
                </c:pt>
                <c:pt idx="27">
                  <c:v>08.07 - 14.07</c:v>
                </c:pt>
                <c:pt idx="28">
                  <c:v>15.07 - 21.07</c:v>
                </c:pt>
                <c:pt idx="29">
                  <c:v>22.07 - 28.07</c:v>
                </c:pt>
                <c:pt idx="30">
                  <c:v>29.07 - 04.08</c:v>
                </c:pt>
                <c:pt idx="31">
                  <c:v>05.08 - 11.08</c:v>
                </c:pt>
                <c:pt idx="32">
                  <c:v>12.08 - 18.08</c:v>
                </c:pt>
                <c:pt idx="33">
                  <c:v>19.08 - 25.08</c:v>
                </c:pt>
                <c:pt idx="34">
                  <c:v>26.08 - 01.09</c:v>
                </c:pt>
                <c:pt idx="35">
                  <c:v>02.09 - 08.09</c:v>
                </c:pt>
                <c:pt idx="36">
                  <c:v>09.09 - 15.09</c:v>
                </c:pt>
                <c:pt idx="37">
                  <c:v>16.09 - 22.09</c:v>
                </c:pt>
                <c:pt idx="38">
                  <c:v>23.09 - 29.09</c:v>
                </c:pt>
                <c:pt idx="39">
                  <c:v>30.09 - 06.10</c:v>
                </c:pt>
                <c:pt idx="40">
                  <c:v>07.10 - 13.10</c:v>
                </c:pt>
                <c:pt idx="41">
                  <c:v>14.10 - 20.10</c:v>
                </c:pt>
                <c:pt idx="42">
                  <c:v>21.10 - 27.10</c:v>
                </c:pt>
                <c:pt idx="43">
                  <c:v>28.10 - 03.11</c:v>
                </c:pt>
                <c:pt idx="44">
                  <c:v>04.11 - 10.11</c:v>
                </c:pt>
                <c:pt idx="45">
                  <c:v>11.11 - 17.11</c:v>
                </c:pt>
                <c:pt idx="46">
                  <c:v>18.11 - 24.11</c:v>
                </c:pt>
                <c:pt idx="47">
                  <c:v>25.11 - 01.12</c:v>
                </c:pt>
                <c:pt idx="48">
                  <c:v>02.12 - 08.12</c:v>
                </c:pt>
                <c:pt idx="49">
                  <c:v>09.12 - 15.12</c:v>
                </c:pt>
                <c:pt idx="50">
                  <c:v>16.12 - 22.12</c:v>
                </c:pt>
                <c:pt idx="51">
                  <c:v>23.12 - 29.12</c:v>
                </c:pt>
                <c:pt idx="52">
                  <c:v>30.12 - 31.12</c:v>
                </c:pt>
              </c:strCache>
            </c:strRef>
          </c:cat>
          <c:val>
            <c:numRef>
              <c:f>List1!$B$3:$BB$3</c:f>
              <c:numCache>
                <c:formatCode>General</c:formatCode>
                <c:ptCount val="53"/>
                <c:pt idx="0">
                  <c:v>242.9149797</c:v>
                </c:pt>
                <c:pt idx="1">
                  <c:v>181.17271930000001</c:v>
                </c:pt>
                <c:pt idx="2">
                  <c:v>147.89659710000001</c:v>
                </c:pt>
                <c:pt idx="3">
                  <c:v>113.6018442</c:v>
                </c:pt>
                <c:pt idx="4">
                  <c:v>93.126539600000001</c:v>
                </c:pt>
                <c:pt idx="5">
                  <c:v>89.386219199999999</c:v>
                </c:pt>
                <c:pt idx="6">
                  <c:v>89.111961800000003</c:v>
                </c:pt>
                <c:pt idx="7">
                  <c:v>103.13499849999999</c:v>
                </c:pt>
                <c:pt idx="8">
                  <c:v>105.6259342</c:v>
                </c:pt>
                <c:pt idx="9">
                  <c:v>91.126422899999994</c:v>
                </c:pt>
                <c:pt idx="10">
                  <c:v>80.5655395</c:v>
                </c:pt>
                <c:pt idx="11">
                  <c:v>63.059741799999998</c:v>
                </c:pt>
                <c:pt idx="12">
                  <c:v>42.525251900000001</c:v>
                </c:pt>
                <c:pt idx="13">
                  <c:v>35.711171299999997</c:v>
                </c:pt>
                <c:pt idx="14">
                  <c:v>22.956079200000001</c:v>
                </c:pt>
                <c:pt idx="15">
                  <c:v>19.066698899999999</c:v>
                </c:pt>
                <c:pt idx="16">
                  <c:v>8.8345196999999995</c:v>
                </c:pt>
                <c:pt idx="17">
                  <c:v>11.588252799999999</c:v>
                </c:pt>
                <c:pt idx="18">
                  <c:v>8.9698475000000002</c:v>
                </c:pt>
                <c:pt idx="19">
                  <c:v>4.4175525000000002</c:v>
                </c:pt>
                <c:pt idx="20">
                  <c:v>3.5905849000000001</c:v>
                </c:pt>
                <c:pt idx="21">
                  <c:v>1.5196308000000001</c:v>
                </c:pt>
                <c:pt idx="22">
                  <c:v>1.5198701999999999</c:v>
                </c:pt>
                <c:pt idx="23">
                  <c:v>0.69092359999999997</c:v>
                </c:pt>
                <c:pt idx="24">
                  <c:v>1.1055923000000001</c:v>
                </c:pt>
                <c:pt idx="25">
                  <c:v>0.69106780000000001</c:v>
                </c:pt>
                <c:pt idx="26">
                  <c:v>1.1051708</c:v>
                </c:pt>
                <c:pt idx="27">
                  <c:v>1.2421279999999999</c:v>
                </c:pt>
                <c:pt idx="28">
                  <c:v>1.5167079000000001</c:v>
                </c:pt>
                <c:pt idx="29">
                  <c:v>1.2397598999999999</c:v>
                </c:pt>
                <c:pt idx="30">
                  <c:v>1.1012457</c:v>
                </c:pt>
                <c:pt idx="31">
                  <c:v>0.96383680000000005</c:v>
                </c:pt>
                <c:pt idx="32">
                  <c:v>2.0660530000000001</c:v>
                </c:pt>
                <c:pt idx="33">
                  <c:v>0.96447819999999995</c:v>
                </c:pt>
                <c:pt idx="34">
                  <c:v>1.2404297</c:v>
                </c:pt>
                <c:pt idx="35">
                  <c:v>2.8929643999999999</c:v>
                </c:pt>
                <c:pt idx="36">
                  <c:v>2.3399893999999999</c:v>
                </c:pt>
                <c:pt idx="37">
                  <c:v>4.9511759</c:v>
                </c:pt>
                <c:pt idx="38">
                  <c:v>6.5961246999999998</c:v>
                </c:pt>
                <c:pt idx="39">
                  <c:v>9.0644399</c:v>
                </c:pt>
                <c:pt idx="40">
                  <c:v>10.9869132</c:v>
                </c:pt>
                <c:pt idx="41">
                  <c:v>18.814933799999999</c:v>
                </c:pt>
                <c:pt idx="42">
                  <c:v>43.946928499999999</c:v>
                </c:pt>
                <c:pt idx="43">
                  <c:v>69.628319300000001</c:v>
                </c:pt>
                <c:pt idx="44">
                  <c:v>98.885885599999995</c:v>
                </c:pt>
                <c:pt idx="45">
                  <c:v>116.19841630000001</c:v>
                </c:pt>
                <c:pt idx="46">
                  <c:v>154.8032268</c:v>
                </c:pt>
                <c:pt idx="47">
                  <c:v>143.55125190000001</c:v>
                </c:pt>
                <c:pt idx="48">
                  <c:v>110.3614716</c:v>
                </c:pt>
                <c:pt idx="49">
                  <c:v>85.817431600000006</c:v>
                </c:pt>
                <c:pt idx="50">
                  <c:v>56.699172300000001</c:v>
                </c:pt>
                <c:pt idx="51">
                  <c:v>43.103566899999997</c:v>
                </c:pt>
                <c:pt idx="52">
                  <c:v>42.91535059999999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BC63-4AAB-97B9-1EE2E94FBFD2}"/>
            </c:ext>
          </c:extLst>
        </c:ser>
        <c:ser>
          <c:idx val="2"/>
          <c:order val="2"/>
          <c:tx>
            <c:strRef>
              <c:f>List1!$A$4</c:f>
              <c:strCache>
                <c:ptCount val="1"/>
                <c:pt idx="0">
                  <c:v>2022</c:v>
                </c:pt>
              </c:strCache>
            </c:strRef>
          </c:tx>
          <c:spPr>
            <a:ln w="28575" cap="flat">
              <a:solidFill>
                <a:srgbClr val="FFC000"/>
              </a:solidFill>
              <a:prstDash val="solid"/>
              <a:round/>
              <a:headEnd type="none"/>
            </a:ln>
            <a:effectLst/>
          </c:spPr>
          <c:marker>
            <c:symbol val="none"/>
          </c:marker>
          <c:dPt>
            <c:idx val="1"/>
            <c:marker>
              <c:symbol val="none"/>
            </c:marker>
            <c:bubble3D val="0"/>
            <c:extLst>
              <c:ext xmlns:c16="http://schemas.microsoft.com/office/drawing/2014/chart" uri="{C3380CC4-5D6E-409C-BE32-E72D297353CC}">
                <c16:uniqueId val="{00000002-BC63-4AAB-97B9-1EE2E94FBFD2}"/>
              </c:ext>
            </c:extLst>
          </c:dPt>
          <c:cat>
            <c:strRef>
              <c:f>List1!$B$1:$BB$1</c:f>
              <c:strCache>
                <c:ptCount val="53"/>
                <c:pt idx="0">
                  <c:v>01.01 - 07.01</c:v>
                </c:pt>
                <c:pt idx="1">
                  <c:v>08.01 - 14.01</c:v>
                </c:pt>
                <c:pt idx="2">
                  <c:v>15.01 - 21.01</c:v>
                </c:pt>
                <c:pt idx="3">
                  <c:v>22.01 - 28.01</c:v>
                </c:pt>
                <c:pt idx="4">
                  <c:v>29.01 - 04.02</c:v>
                </c:pt>
                <c:pt idx="5">
                  <c:v>05.02 - 11.02</c:v>
                </c:pt>
                <c:pt idx="6">
                  <c:v>12.02 - 18.02</c:v>
                </c:pt>
                <c:pt idx="7">
                  <c:v>19.02 - 25.02</c:v>
                </c:pt>
                <c:pt idx="8">
                  <c:v>26.02 - 04.03</c:v>
                </c:pt>
                <c:pt idx="9">
                  <c:v>05.03 - 10.03</c:v>
                </c:pt>
                <c:pt idx="10">
                  <c:v>11.03 - 17.03</c:v>
                </c:pt>
                <c:pt idx="11">
                  <c:v>18.03 - 24.03</c:v>
                </c:pt>
                <c:pt idx="12">
                  <c:v>25.03 - 31.03</c:v>
                </c:pt>
                <c:pt idx="13">
                  <c:v>01.04 - 07.04</c:v>
                </c:pt>
                <c:pt idx="14">
                  <c:v>08.04 - 14.04</c:v>
                </c:pt>
                <c:pt idx="15">
                  <c:v>15.04 - 21.04</c:v>
                </c:pt>
                <c:pt idx="16">
                  <c:v>22.04 - 28.04</c:v>
                </c:pt>
                <c:pt idx="17">
                  <c:v>29.04 - 05.05</c:v>
                </c:pt>
                <c:pt idx="18">
                  <c:v>06.05 - 12.05</c:v>
                </c:pt>
                <c:pt idx="19">
                  <c:v>13.05 - 19.05</c:v>
                </c:pt>
                <c:pt idx="20">
                  <c:v>20.05 - 26.05</c:v>
                </c:pt>
                <c:pt idx="21">
                  <c:v>27.05 - 02.06</c:v>
                </c:pt>
                <c:pt idx="22">
                  <c:v>03.06 - 09.06</c:v>
                </c:pt>
                <c:pt idx="23">
                  <c:v>10.06 - 16.06</c:v>
                </c:pt>
                <c:pt idx="24">
                  <c:v>17.06 - 23.06</c:v>
                </c:pt>
                <c:pt idx="25">
                  <c:v>24.06 - 30.06</c:v>
                </c:pt>
                <c:pt idx="26">
                  <c:v>01.07 - 07.07</c:v>
                </c:pt>
                <c:pt idx="27">
                  <c:v>08.07 - 14.07</c:v>
                </c:pt>
                <c:pt idx="28">
                  <c:v>15.07 - 21.07</c:v>
                </c:pt>
                <c:pt idx="29">
                  <c:v>22.07 - 28.07</c:v>
                </c:pt>
                <c:pt idx="30">
                  <c:v>29.07 - 04.08</c:v>
                </c:pt>
                <c:pt idx="31">
                  <c:v>05.08 - 11.08</c:v>
                </c:pt>
                <c:pt idx="32">
                  <c:v>12.08 - 18.08</c:v>
                </c:pt>
                <c:pt idx="33">
                  <c:v>19.08 - 25.08</c:v>
                </c:pt>
                <c:pt idx="34">
                  <c:v>26.08 - 01.09</c:v>
                </c:pt>
                <c:pt idx="35">
                  <c:v>02.09 - 08.09</c:v>
                </c:pt>
                <c:pt idx="36">
                  <c:v>09.09 - 15.09</c:v>
                </c:pt>
                <c:pt idx="37">
                  <c:v>16.09 - 22.09</c:v>
                </c:pt>
                <c:pt idx="38">
                  <c:v>23.09 - 29.09</c:v>
                </c:pt>
                <c:pt idx="39">
                  <c:v>30.09 - 06.10</c:v>
                </c:pt>
                <c:pt idx="40">
                  <c:v>07.10 - 13.10</c:v>
                </c:pt>
                <c:pt idx="41">
                  <c:v>14.10 - 20.10</c:v>
                </c:pt>
                <c:pt idx="42">
                  <c:v>21.10 - 27.10</c:v>
                </c:pt>
                <c:pt idx="43">
                  <c:v>28.10 - 03.11</c:v>
                </c:pt>
                <c:pt idx="44">
                  <c:v>04.11 - 10.11</c:v>
                </c:pt>
                <c:pt idx="45">
                  <c:v>11.11 - 17.11</c:v>
                </c:pt>
                <c:pt idx="46">
                  <c:v>18.11 - 24.11</c:v>
                </c:pt>
                <c:pt idx="47">
                  <c:v>25.11 - 01.12</c:v>
                </c:pt>
                <c:pt idx="48">
                  <c:v>02.12 - 08.12</c:v>
                </c:pt>
                <c:pt idx="49">
                  <c:v>09.12 - 15.12</c:v>
                </c:pt>
                <c:pt idx="50">
                  <c:v>16.12 - 22.12</c:v>
                </c:pt>
                <c:pt idx="51">
                  <c:v>23.12 - 29.12</c:v>
                </c:pt>
                <c:pt idx="52">
                  <c:v>30.12 - 31.12</c:v>
                </c:pt>
              </c:strCache>
            </c:strRef>
          </c:cat>
          <c:val>
            <c:numRef>
              <c:f>List1!$B$4:$BB$4</c:f>
              <c:numCache>
                <c:formatCode>General</c:formatCode>
                <c:ptCount val="53"/>
                <c:pt idx="0">
                  <c:v>46.7681033</c:v>
                </c:pt>
                <c:pt idx="1">
                  <c:v>60.151498799999999</c:v>
                </c:pt>
                <c:pt idx="2">
                  <c:v>156.0646212</c:v>
                </c:pt>
                <c:pt idx="3">
                  <c:v>286.18345190000002</c:v>
                </c:pt>
                <c:pt idx="4">
                  <c:v>325.2971799</c:v>
                </c:pt>
                <c:pt idx="5">
                  <c:v>271.57677469999999</c:v>
                </c:pt>
                <c:pt idx="6">
                  <c:v>197.986694</c:v>
                </c:pt>
                <c:pt idx="7">
                  <c:v>120.7103231</c:v>
                </c:pt>
                <c:pt idx="8">
                  <c:v>104.868579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BC63-4AAB-97B9-1EE2E94FBFD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88445264"/>
        <c:axId val="494149648"/>
      </c:line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tickLblSkip val="1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  <c:majorUnit val="50"/>
      </c:valAx>
      <c:spPr>
        <a:noFill/>
        <a:ln w="25400">
          <a:noFill/>
        </a:ln>
        <a:effectLst/>
      </c:spPr>
    </c:plotArea>
    <c:legend>
      <c:legendPos val="r"/>
      <c:layout>
        <c:manualLayout>
          <c:xMode val="edge"/>
          <c:yMode val="edge"/>
          <c:x val="0.87596356464825076"/>
          <c:y val="0.27782564669163051"/>
          <c:w val="7.847404993676986E-2"/>
          <c:h val="0.16275051734771301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65896097904626E-2"/>
          <c:y val="0.11530977652557951"/>
          <c:w val="0.91692139603581668"/>
          <c:h val="0.71344666460445894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135:$A$391</c:f>
              <c:numCache>
                <c:formatCode>m/d/yyyy</c:formatCode>
                <c:ptCount val="257"/>
                <c:pt idx="0">
                  <c:v>44364</c:v>
                </c:pt>
                <c:pt idx="1">
                  <c:v>44365</c:v>
                </c:pt>
                <c:pt idx="2">
                  <c:v>44366</c:v>
                </c:pt>
                <c:pt idx="3">
                  <c:v>44367</c:v>
                </c:pt>
                <c:pt idx="4">
                  <c:v>44369</c:v>
                </c:pt>
                <c:pt idx="5">
                  <c:v>44370</c:v>
                </c:pt>
                <c:pt idx="6">
                  <c:v>44371</c:v>
                </c:pt>
                <c:pt idx="7">
                  <c:v>44373</c:v>
                </c:pt>
                <c:pt idx="8">
                  <c:v>44374</c:v>
                </c:pt>
                <c:pt idx="9">
                  <c:v>44375</c:v>
                </c:pt>
                <c:pt idx="10">
                  <c:v>44376</c:v>
                </c:pt>
                <c:pt idx="11">
                  <c:v>44378</c:v>
                </c:pt>
                <c:pt idx="12">
                  <c:v>44379</c:v>
                </c:pt>
                <c:pt idx="13">
                  <c:v>44381</c:v>
                </c:pt>
                <c:pt idx="14">
                  <c:v>44382</c:v>
                </c:pt>
                <c:pt idx="15">
                  <c:v>44383</c:v>
                </c:pt>
                <c:pt idx="16">
                  <c:v>44384</c:v>
                </c:pt>
                <c:pt idx="17">
                  <c:v>44385</c:v>
                </c:pt>
                <c:pt idx="18">
                  <c:v>44386</c:v>
                </c:pt>
                <c:pt idx="19">
                  <c:v>44387</c:v>
                </c:pt>
                <c:pt idx="20">
                  <c:v>44388</c:v>
                </c:pt>
                <c:pt idx="21">
                  <c:v>44389</c:v>
                </c:pt>
                <c:pt idx="22">
                  <c:v>44390</c:v>
                </c:pt>
                <c:pt idx="23">
                  <c:v>44391</c:v>
                </c:pt>
                <c:pt idx="24">
                  <c:v>44392</c:v>
                </c:pt>
                <c:pt idx="25">
                  <c:v>44393</c:v>
                </c:pt>
                <c:pt idx="26">
                  <c:v>44394</c:v>
                </c:pt>
                <c:pt idx="27">
                  <c:v>44395</c:v>
                </c:pt>
                <c:pt idx="28">
                  <c:v>44396</c:v>
                </c:pt>
                <c:pt idx="29">
                  <c:v>44397</c:v>
                </c:pt>
                <c:pt idx="30">
                  <c:v>44398</c:v>
                </c:pt>
                <c:pt idx="31">
                  <c:v>44399</c:v>
                </c:pt>
                <c:pt idx="32">
                  <c:v>44400</c:v>
                </c:pt>
                <c:pt idx="33">
                  <c:v>44401</c:v>
                </c:pt>
                <c:pt idx="34">
                  <c:v>44402</c:v>
                </c:pt>
                <c:pt idx="35">
                  <c:v>44403</c:v>
                </c:pt>
                <c:pt idx="36">
                  <c:v>44404</c:v>
                </c:pt>
                <c:pt idx="37">
                  <c:v>44405</c:v>
                </c:pt>
                <c:pt idx="38">
                  <c:v>44406</c:v>
                </c:pt>
                <c:pt idx="39">
                  <c:v>44407</c:v>
                </c:pt>
                <c:pt idx="40">
                  <c:v>44408</c:v>
                </c:pt>
                <c:pt idx="41">
                  <c:v>44409</c:v>
                </c:pt>
                <c:pt idx="42">
                  <c:v>44410</c:v>
                </c:pt>
                <c:pt idx="43">
                  <c:v>44411</c:v>
                </c:pt>
                <c:pt idx="44">
                  <c:v>44412</c:v>
                </c:pt>
                <c:pt idx="45">
                  <c:v>44413</c:v>
                </c:pt>
                <c:pt idx="46">
                  <c:v>44414</c:v>
                </c:pt>
                <c:pt idx="47">
                  <c:v>44415</c:v>
                </c:pt>
                <c:pt idx="48">
                  <c:v>44416</c:v>
                </c:pt>
                <c:pt idx="49">
                  <c:v>44417</c:v>
                </c:pt>
                <c:pt idx="50">
                  <c:v>44418</c:v>
                </c:pt>
                <c:pt idx="51">
                  <c:v>44419</c:v>
                </c:pt>
                <c:pt idx="52">
                  <c:v>44420</c:v>
                </c:pt>
                <c:pt idx="53">
                  <c:v>44421</c:v>
                </c:pt>
                <c:pt idx="54">
                  <c:v>44422</c:v>
                </c:pt>
                <c:pt idx="55">
                  <c:v>44423</c:v>
                </c:pt>
                <c:pt idx="56">
                  <c:v>44424</c:v>
                </c:pt>
                <c:pt idx="57">
                  <c:v>44425</c:v>
                </c:pt>
                <c:pt idx="58">
                  <c:v>44426</c:v>
                </c:pt>
                <c:pt idx="59">
                  <c:v>44427</c:v>
                </c:pt>
                <c:pt idx="60">
                  <c:v>44428</c:v>
                </c:pt>
                <c:pt idx="61">
                  <c:v>44429</c:v>
                </c:pt>
                <c:pt idx="62">
                  <c:v>44430</c:v>
                </c:pt>
                <c:pt idx="63">
                  <c:v>44431</c:v>
                </c:pt>
                <c:pt idx="64">
                  <c:v>44432</c:v>
                </c:pt>
                <c:pt idx="65">
                  <c:v>44433</c:v>
                </c:pt>
                <c:pt idx="66">
                  <c:v>44434</c:v>
                </c:pt>
                <c:pt idx="67">
                  <c:v>44435</c:v>
                </c:pt>
                <c:pt idx="68">
                  <c:v>44436</c:v>
                </c:pt>
                <c:pt idx="69">
                  <c:v>44437</c:v>
                </c:pt>
                <c:pt idx="70">
                  <c:v>44438</c:v>
                </c:pt>
                <c:pt idx="71">
                  <c:v>44439</c:v>
                </c:pt>
                <c:pt idx="72">
                  <c:v>44440</c:v>
                </c:pt>
                <c:pt idx="73">
                  <c:v>44441</c:v>
                </c:pt>
                <c:pt idx="74">
                  <c:v>44442</c:v>
                </c:pt>
                <c:pt idx="75">
                  <c:v>44443</c:v>
                </c:pt>
                <c:pt idx="76">
                  <c:v>44444</c:v>
                </c:pt>
                <c:pt idx="77">
                  <c:v>44445</c:v>
                </c:pt>
                <c:pt idx="78">
                  <c:v>44446</c:v>
                </c:pt>
                <c:pt idx="79">
                  <c:v>44447</c:v>
                </c:pt>
                <c:pt idx="80">
                  <c:v>44448</c:v>
                </c:pt>
                <c:pt idx="81">
                  <c:v>44449</c:v>
                </c:pt>
                <c:pt idx="82">
                  <c:v>44450</c:v>
                </c:pt>
                <c:pt idx="83">
                  <c:v>44451</c:v>
                </c:pt>
                <c:pt idx="84">
                  <c:v>44452</c:v>
                </c:pt>
                <c:pt idx="85">
                  <c:v>44453</c:v>
                </c:pt>
                <c:pt idx="86">
                  <c:v>44454</c:v>
                </c:pt>
                <c:pt idx="87">
                  <c:v>44455</c:v>
                </c:pt>
                <c:pt idx="88">
                  <c:v>44456</c:v>
                </c:pt>
                <c:pt idx="89">
                  <c:v>44457</c:v>
                </c:pt>
                <c:pt idx="90">
                  <c:v>44458</c:v>
                </c:pt>
                <c:pt idx="91">
                  <c:v>44459</c:v>
                </c:pt>
                <c:pt idx="92">
                  <c:v>44460</c:v>
                </c:pt>
                <c:pt idx="93">
                  <c:v>44461</c:v>
                </c:pt>
                <c:pt idx="94">
                  <c:v>44462</c:v>
                </c:pt>
                <c:pt idx="95">
                  <c:v>44463</c:v>
                </c:pt>
                <c:pt idx="96">
                  <c:v>44464</c:v>
                </c:pt>
                <c:pt idx="97">
                  <c:v>44465</c:v>
                </c:pt>
                <c:pt idx="98">
                  <c:v>44466</c:v>
                </c:pt>
                <c:pt idx="99">
                  <c:v>44467</c:v>
                </c:pt>
                <c:pt idx="100">
                  <c:v>44468</c:v>
                </c:pt>
                <c:pt idx="101">
                  <c:v>44469</c:v>
                </c:pt>
                <c:pt idx="102">
                  <c:v>44470</c:v>
                </c:pt>
                <c:pt idx="103">
                  <c:v>44471</c:v>
                </c:pt>
                <c:pt idx="104">
                  <c:v>44472</c:v>
                </c:pt>
                <c:pt idx="105">
                  <c:v>44473</c:v>
                </c:pt>
                <c:pt idx="106">
                  <c:v>44474</c:v>
                </c:pt>
                <c:pt idx="107">
                  <c:v>44475</c:v>
                </c:pt>
                <c:pt idx="108">
                  <c:v>44476</c:v>
                </c:pt>
                <c:pt idx="109">
                  <c:v>44477</c:v>
                </c:pt>
                <c:pt idx="110">
                  <c:v>44478</c:v>
                </c:pt>
                <c:pt idx="111">
                  <c:v>44479</c:v>
                </c:pt>
                <c:pt idx="112">
                  <c:v>44480</c:v>
                </c:pt>
                <c:pt idx="113">
                  <c:v>44481</c:v>
                </c:pt>
                <c:pt idx="114">
                  <c:v>44482</c:v>
                </c:pt>
                <c:pt idx="115">
                  <c:v>44483</c:v>
                </c:pt>
                <c:pt idx="116">
                  <c:v>44484</c:v>
                </c:pt>
                <c:pt idx="117">
                  <c:v>44485</c:v>
                </c:pt>
                <c:pt idx="118">
                  <c:v>44486</c:v>
                </c:pt>
                <c:pt idx="119">
                  <c:v>44487</c:v>
                </c:pt>
                <c:pt idx="120">
                  <c:v>44488</c:v>
                </c:pt>
                <c:pt idx="121">
                  <c:v>44489</c:v>
                </c:pt>
                <c:pt idx="122">
                  <c:v>44490</c:v>
                </c:pt>
                <c:pt idx="123">
                  <c:v>44491</c:v>
                </c:pt>
                <c:pt idx="124">
                  <c:v>44492</c:v>
                </c:pt>
                <c:pt idx="125">
                  <c:v>44493</c:v>
                </c:pt>
                <c:pt idx="126">
                  <c:v>44494</c:v>
                </c:pt>
                <c:pt idx="127">
                  <c:v>44495</c:v>
                </c:pt>
                <c:pt idx="128">
                  <c:v>44496</c:v>
                </c:pt>
                <c:pt idx="129">
                  <c:v>44497</c:v>
                </c:pt>
                <c:pt idx="130">
                  <c:v>44498</c:v>
                </c:pt>
                <c:pt idx="131">
                  <c:v>44499</c:v>
                </c:pt>
                <c:pt idx="132">
                  <c:v>44500</c:v>
                </c:pt>
                <c:pt idx="133">
                  <c:v>44501</c:v>
                </c:pt>
                <c:pt idx="134">
                  <c:v>44502</c:v>
                </c:pt>
                <c:pt idx="135">
                  <c:v>44503</c:v>
                </c:pt>
                <c:pt idx="136">
                  <c:v>44504</c:v>
                </c:pt>
                <c:pt idx="137">
                  <c:v>44505</c:v>
                </c:pt>
                <c:pt idx="138">
                  <c:v>44506</c:v>
                </c:pt>
                <c:pt idx="139">
                  <c:v>44507</c:v>
                </c:pt>
                <c:pt idx="140">
                  <c:v>44508</c:v>
                </c:pt>
                <c:pt idx="141">
                  <c:v>44509</c:v>
                </c:pt>
                <c:pt idx="142">
                  <c:v>44510</c:v>
                </c:pt>
                <c:pt idx="143">
                  <c:v>44511</c:v>
                </c:pt>
                <c:pt idx="144">
                  <c:v>44512</c:v>
                </c:pt>
                <c:pt idx="145">
                  <c:v>44513</c:v>
                </c:pt>
                <c:pt idx="146">
                  <c:v>44514</c:v>
                </c:pt>
                <c:pt idx="147">
                  <c:v>44515</c:v>
                </c:pt>
                <c:pt idx="148">
                  <c:v>44516</c:v>
                </c:pt>
                <c:pt idx="149">
                  <c:v>44517</c:v>
                </c:pt>
                <c:pt idx="150">
                  <c:v>44518</c:v>
                </c:pt>
                <c:pt idx="151">
                  <c:v>44519</c:v>
                </c:pt>
                <c:pt idx="152">
                  <c:v>44520</c:v>
                </c:pt>
                <c:pt idx="153">
                  <c:v>44521</c:v>
                </c:pt>
                <c:pt idx="154">
                  <c:v>44522</c:v>
                </c:pt>
                <c:pt idx="155">
                  <c:v>44523</c:v>
                </c:pt>
                <c:pt idx="156">
                  <c:v>44524</c:v>
                </c:pt>
                <c:pt idx="157">
                  <c:v>44525</c:v>
                </c:pt>
                <c:pt idx="158">
                  <c:v>44526</c:v>
                </c:pt>
                <c:pt idx="159">
                  <c:v>44527</c:v>
                </c:pt>
                <c:pt idx="160">
                  <c:v>44528</c:v>
                </c:pt>
                <c:pt idx="161">
                  <c:v>44529</c:v>
                </c:pt>
                <c:pt idx="162">
                  <c:v>44530</c:v>
                </c:pt>
                <c:pt idx="163">
                  <c:v>44531</c:v>
                </c:pt>
                <c:pt idx="164">
                  <c:v>44532</c:v>
                </c:pt>
                <c:pt idx="165">
                  <c:v>44533</c:v>
                </c:pt>
                <c:pt idx="166">
                  <c:v>44534</c:v>
                </c:pt>
                <c:pt idx="167">
                  <c:v>44535</c:v>
                </c:pt>
                <c:pt idx="168">
                  <c:v>44536</c:v>
                </c:pt>
                <c:pt idx="169">
                  <c:v>44537</c:v>
                </c:pt>
                <c:pt idx="170">
                  <c:v>44538</c:v>
                </c:pt>
                <c:pt idx="171">
                  <c:v>44539</c:v>
                </c:pt>
                <c:pt idx="172">
                  <c:v>44540</c:v>
                </c:pt>
                <c:pt idx="173">
                  <c:v>44541</c:v>
                </c:pt>
                <c:pt idx="174">
                  <c:v>44542</c:v>
                </c:pt>
                <c:pt idx="175">
                  <c:v>44543</c:v>
                </c:pt>
                <c:pt idx="176">
                  <c:v>44544</c:v>
                </c:pt>
                <c:pt idx="177">
                  <c:v>44545</c:v>
                </c:pt>
                <c:pt idx="178">
                  <c:v>44546</c:v>
                </c:pt>
                <c:pt idx="179">
                  <c:v>44547</c:v>
                </c:pt>
                <c:pt idx="180">
                  <c:v>44548</c:v>
                </c:pt>
                <c:pt idx="181">
                  <c:v>44549</c:v>
                </c:pt>
                <c:pt idx="182">
                  <c:v>44550</c:v>
                </c:pt>
                <c:pt idx="183">
                  <c:v>44551</c:v>
                </c:pt>
                <c:pt idx="184">
                  <c:v>44552</c:v>
                </c:pt>
                <c:pt idx="185">
                  <c:v>44553</c:v>
                </c:pt>
                <c:pt idx="186">
                  <c:v>44554</c:v>
                </c:pt>
                <c:pt idx="187">
                  <c:v>44555</c:v>
                </c:pt>
                <c:pt idx="188">
                  <c:v>44556</c:v>
                </c:pt>
                <c:pt idx="189">
                  <c:v>44557</c:v>
                </c:pt>
                <c:pt idx="190">
                  <c:v>44558</c:v>
                </c:pt>
                <c:pt idx="191">
                  <c:v>44559</c:v>
                </c:pt>
                <c:pt idx="192">
                  <c:v>44560</c:v>
                </c:pt>
                <c:pt idx="193">
                  <c:v>44561</c:v>
                </c:pt>
                <c:pt idx="194">
                  <c:v>44562</c:v>
                </c:pt>
                <c:pt idx="195">
                  <c:v>44563</c:v>
                </c:pt>
                <c:pt idx="196">
                  <c:v>44564</c:v>
                </c:pt>
                <c:pt idx="197">
                  <c:v>44565</c:v>
                </c:pt>
                <c:pt idx="198">
                  <c:v>44566</c:v>
                </c:pt>
                <c:pt idx="199">
                  <c:v>44567</c:v>
                </c:pt>
                <c:pt idx="200">
                  <c:v>44568</c:v>
                </c:pt>
                <c:pt idx="201">
                  <c:v>44569</c:v>
                </c:pt>
                <c:pt idx="202">
                  <c:v>44570</c:v>
                </c:pt>
                <c:pt idx="203">
                  <c:v>44571</c:v>
                </c:pt>
                <c:pt idx="204">
                  <c:v>44572</c:v>
                </c:pt>
                <c:pt idx="205">
                  <c:v>44573</c:v>
                </c:pt>
                <c:pt idx="206">
                  <c:v>44574</c:v>
                </c:pt>
                <c:pt idx="207">
                  <c:v>44575</c:v>
                </c:pt>
                <c:pt idx="208">
                  <c:v>44576</c:v>
                </c:pt>
                <c:pt idx="209">
                  <c:v>44577</c:v>
                </c:pt>
                <c:pt idx="210">
                  <c:v>44578</c:v>
                </c:pt>
                <c:pt idx="211">
                  <c:v>44579</c:v>
                </c:pt>
                <c:pt idx="212">
                  <c:v>44580</c:v>
                </c:pt>
                <c:pt idx="213">
                  <c:v>44581</c:v>
                </c:pt>
                <c:pt idx="214">
                  <c:v>44582</c:v>
                </c:pt>
                <c:pt idx="215">
                  <c:v>44583</c:v>
                </c:pt>
                <c:pt idx="216">
                  <c:v>44584</c:v>
                </c:pt>
                <c:pt idx="217">
                  <c:v>44585</c:v>
                </c:pt>
                <c:pt idx="218">
                  <c:v>44586</c:v>
                </c:pt>
                <c:pt idx="219">
                  <c:v>44587</c:v>
                </c:pt>
                <c:pt idx="220">
                  <c:v>44588</c:v>
                </c:pt>
                <c:pt idx="221">
                  <c:v>44589</c:v>
                </c:pt>
                <c:pt idx="222">
                  <c:v>44590</c:v>
                </c:pt>
                <c:pt idx="223">
                  <c:v>44591</c:v>
                </c:pt>
                <c:pt idx="224">
                  <c:v>44592</c:v>
                </c:pt>
                <c:pt idx="225">
                  <c:v>44593</c:v>
                </c:pt>
                <c:pt idx="226">
                  <c:v>44594</c:v>
                </c:pt>
                <c:pt idx="227">
                  <c:v>44595</c:v>
                </c:pt>
                <c:pt idx="228">
                  <c:v>44596</c:v>
                </c:pt>
                <c:pt idx="229">
                  <c:v>44597</c:v>
                </c:pt>
                <c:pt idx="230">
                  <c:v>44598</c:v>
                </c:pt>
                <c:pt idx="231">
                  <c:v>44599</c:v>
                </c:pt>
                <c:pt idx="232">
                  <c:v>44600</c:v>
                </c:pt>
                <c:pt idx="233">
                  <c:v>44601</c:v>
                </c:pt>
                <c:pt idx="234">
                  <c:v>44602</c:v>
                </c:pt>
                <c:pt idx="235">
                  <c:v>44603</c:v>
                </c:pt>
                <c:pt idx="236">
                  <c:v>44604</c:v>
                </c:pt>
                <c:pt idx="237">
                  <c:v>44605</c:v>
                </c:pt>
                <c:pt idx="238">
                  <c:v>44606</c:v>
                </c:pt>
                <c:pt idx="239">
                  <c:v>44607</c:v>
                </c:pt>
                <c:pt idx="240">
                  <c:v>44608</c:v>
                </c:pt>
                <c:pt idx="241">
                  <c:v>44609</c:v>
                </c:pt>
                <c:pt idx="242">
                  <c:v>44610</c:v>
                </c:pt>
                <c:pt idx="243">
                  <c:v>44611</c:v>
                </c:pt>
                <c:pt idx="244">
                  <c:v>44612</c:v>
                </c:pt>
                <c:pt idx="245">
                  <c:v>44613</c:v>
                </c:pt>
                <c:pt idx="246">
                  <c:v>44614</c:v>
                </c:pt>
                <c:pt idx="247">
                  <c:v>44615</c:v>
                </c:pt>
                <c:pt idx="248">
                  <c:v>44616</c:v>
                </c:pt>
                <c:pt idx="249">
                  <c:v>44617</c:v>
                </c:pt>
                <c:pt idx="250">
                  <c:v>44618</c:v>
                </c:pt>
                <c:pt idx="251">
                  <c:v>44619</c:v>
                </c:pt>
                <c:pt idx="252">
                  <c:v>44620</c:v>
                </c:pt>
                <c:pt idx="253">
                  <c:v>44621</c:v>
                </c:pt>
                <c:pt idx="254">
                  <c:v>44622</c:v>
                </c:pt>
                <c:pt idx="255">
                  <c:v>44623</c:v>
                </c:pt>
                <c:pt idx="256">
                  <c:v>44624</c:v>
                </c:pt>
              </c:numCache>
            </c:numRef>
          </c:cat>
          <c:val>
            <c:numRef>
              <c:f>Sheet1!$B$135:$B$391</c:f>
              <c:numCache>
                <c:formatCode>General</c:formatCode>
                <c:ptCount val="257"/>
                <c:pt idx="0">
                  <c:v>2</c:v>
                </c:pt>
                <c:pt idx="1">
                  <c:v>0</c:v>
                </c:pt>
                <c:pt idx="2">
                  <c:v>1</c:v>
                </c:pt>
                <c:pt idx="3">
                  <c:v>1</c:v>
                </c:pt>
                <c:pt idx="4">
                  <c:v>1</c:v>
                </c:pt>
                <c:pt idx="5">
                  <c:v>3</c:v>
                </c:pt>
                <c:pt idx="6">
                  <c:v>2</c:v>
                </c:pt>
                <c:pt idx="7">
                  <c:v>1</c:v>
                </c:pt>
                <c:pt idx="8">
                  <c:v>2</c:v>
                </c:pt>
                <c:pt idx="9">
                  <c:v>0</c:v>
                </c:pt>
                <c:pt idx="10">
                  <c:v>1</c:v>
                </c:pt>
                <c:pt idx="11">
                  <c:v>0</c:v>
                </c:pt>
                <c:pt idx="12">
                  <c:v>2</c:v>
                </c:pt>
                <c:pt idx="13">
                  <c:v>0</c:v>
                </c:pt>
                <c:pt idx="14">
                  <c:v>0</c:v>
                </c:pt>
                <c:pt idx="15">
                  <c:v>1</c:v>
                </c:pt>
                <c:pt idx="16">
                  <c:v>1</c:v>
                </c:pt>
                <c:pt idx="17">
                  <c:v>5</c:v>
                </c:pt>
                <c:pt idx="18">
                  <c:v>4</c:v>
                </c:pt>
                <c:pt idx="19">
                  <c:v>0</c:v>
                </c:pt>
                <c:pt idx="20">
                  <c:v>1</c:v>
                </c:pt>
                <c:pt idx="21">
                  <c:v>2</c:v>
                </c:pt>
                <c:pt idx="22">
                  <c:v>0</c:v>
                </c:pt>
                <c:pt idx="23">
                  <c:v>4</c:v>
                </c:pt>
                <c:pt idx="24">
                  <c:v>2</c:v>
                </c:pt>
                <c:pt idx="25">
                  <c:v>5</c:v>
                </c:pt>
                <c:pt idx="26">
                  <c:v>1</c:v>
                </c:pt>
                <c:pt idx="27">
                  <c:v>1</c:v>
                </c:pt>
                <c:pt idx="28">
                  <c:v>4</c:v>
                </c:pt>
                <c:pt idx="29">
                  <c:v>5</c:v>
                </c:pt>
                <c:pt idx="30">
                  <c:v>1</c:v>
                </c:pt>
                <c:pt idx="31">
                  <c:v>3</c:v>
                </c:pt>
                <c:pt idx="32">
                  <c:v>2</c:v>
                </c:pt>
                <c:pt idx="33">
                  <c:v>0</c:v>
                </c:pt>
                <c:pt idx="34">
                  <c:v>2</c:v>
                </c:pt>
                <c:pt idx="35">
                  <c:v>3</c:v>
                </c:pt>
                <c:pt idx="36">
                  <c:v>3</c:v>
                </c:pt>
                <c:pt idx="37">
                  <c:v>1</c:v>
                </c:pt>
                <c:pt idx="38">
                  <c:v>4</c:v>
                </c:pt>
                <c:pt idx="39">
                  <c:v>1</c:v>
                </c:pt>
                <c:pt idx="40">
                  <c:v>1</c:v>
                </c:pt>
                <c:pt idx="41">
                  <c:v>1</c:v>
                </c:pt>
                <c:pt idx="42">
                  <c:v>2</c:v>
                </c:pt>
                <c:pt idx="43">
                  <c:v>4</c:v>
                </c:pt>
                <c:pt idx="44">
                  <c:v>2</c:v>
                </c:pt>
                <c:pt idx="45">
                  <c:v>1</c:v>
                </c:pt>
                <c:pt idx="46">
                  <c:v>4</c:v>
                </c:pt>
                <c:pt idx="47">
                  <c:v>1</c:v>
                </c:pt>
                <c:pt idx="48">
                  <c:v>0</c:v>
                </c:pt>
                <c:pt idx="49">
                  <c:v>8</c:v>
                </c:pt>
                <c:pt idx="50">
                  <c:v>1</c:v>
                </c:pt>
                <c:pt idx="51">
                  <c:v>1</c:v>
                </c:pt>
                <c:pt idx="52">
                  <c:v>2</c:v>
                </c:pt>
                <c:pt idx="53">
                  <c:v>7</c:v>
                </c:pt>
                <c:pt idx="54">
                  <c:v>2</c:v>
                </c:pt>
                <c:pt idx="55">
                  <c:v>1</c:v>
                </c:pt>
                <c:pt idx="56">
                  <c:v>1</c:v>
                </c:pt>
                <c:pt idx="57">
                  <c:v>1</c:v>
                </c:pt>
                <c:pt idx="58">
                  <c:v>1</c:v>
                </c:pt>
                <c:pt idx="59">
                  <c:v>0</c:v>
                </c:pt>
                <c:pt idx="60">
                  <c:v>3</c:v>
                </c:pt>
                <c:pt idx="61">
                  <c:v>2</c:v>
                </c:pt>
                <c:pt idx="62">
                  <c:v>2</c:v>
                </c:pt>
                <c:pt idx="63">
                  <c:v>1</c:v>
                </c:pt>
                <c:pt idx="64">
                  <c:v>3</c:v>
                </c:pt>
                <c:pt idx="65">
                  <c:v>5</c:v>
                </c:pt>
                <c:pt idx="66">
                  <c:v>2</c:v>
                </c:pt>
                <c:pt idx="67">
                  <c:v>2</c:v>
                </c:pt>
                <c:pt idx="68">
                  <c:v>0</c:v>
                </c:pt>
                <c:pt idx="69">
                  <c:v>1</c:v>
                </c:pt>
                <c:pt idx="70">
                  <c:v>1</c:v>
                </c:pt>
                <c:pt idx="71">
                  <c:v>1</c:v>
                </c:pt>
                <c:pt idx="72">
                  <c:v>2</c:v>
                </c:pt>
                <c:pt idx="73">
                  <c:v>5</c:v>
                </c:pt>
                <c:pt idx="74">
                  <c:v>6</c:v>
                </c:pt>
                <c:pt idx="75">
                  <c:v>5</c:v>
                </c:pt>
                <c:pt idx="76">
                  <c:v>1</c:v>
                </c:pt>
                <c:pt idx="77">
                  <c:v>5</c:v>
                </c:pt>
                <c:pt idx="78">
                  <c:v>4</c:v>
                </c:pt>
                <c:pt idx="79">
                  <c:v>1</c:v>
                </c:pt>
                <c:pt idx="80">
                  <c:v>3</c:v>
                </c:pt>
                <c:pt idx="81">
                  <c:v>2</c:v>
                </c:pt>
                <c:pt idx="82">
                  <c:v>0</c:v>
                </c:pt>
                <c:pt idx="83">
                  <c:v>3</c:v>
                </c:pt>
                <c:pt idx="84">
                  <c:v>2</c:v>
                </c:pt>
                <c:pt idx="85">
                  <c:v>3</c:v>
                </c:pt>
                <c:pt idx="86">
                  <c:v>5</c:v>
                </c:pt>
                <c:pt idx="87">
                  <c:v>8</c:v>
                </c:pt>
                <c:pt idx="88">
                  <c:v>4</c:v>
                </c:pt>
                <c:pt idx="89">
                  <c:v>2</c:v>
                </c:pt>
                <c:pt idx="90">
                  <c:v>6</c:v>
                </c:pt>
                <c:pt idx="91">
                  <c:v>8</c:v>
                </c:pt>
                <c:pt idx="92">
                  <c:v>9</c:v>
                </c:pt>
                <c:pt idx="93">
                  <c:v>8</c:v>
                </c:pt>
                <c:pt idx="94">
                  <c:v>7</c:v>
                </c:pt>
                <c:pt idx="95">
                  <c:v>5</c:v>
                </c:pt>
                <c:pt idx="96">
                  <c:v>4</c:v>
                </c:pt>
                <c:pt idx="97">
                  <c:v>2</c:v>
                </c:pt>
                <c:pt idx="98">
                  <c:v>7</c:v>
                </c:pt>
                <c:pt idx="99">
                  <c:v>6</c:v>
                </c:pt>
                <c:pt idx="100">
                  <c:v>9</c:v>
                </c:pt>
                <c:pt idx="101">
                  <c:v>12</c:v>
                </c:pt>
                <c:pt idx="102">
                  <c:v>11</c:v>
                </c:pt>
                <c:pt idx="103">
                  <c:v>4</c:v>
                </c:pt>
                <c:pt idx="104">
                  <c:v>6</c:v>
                </c:pt>
                <c:pt idx="105">
                  <c:v>10</c:v>
                </c:pt>
                <c:pt idx="106">
                  <c:v>13</c:v>
                </c:pt>
                <c:pt idx="107">
                  <c:v>13</c:v>
                </c:pt>
                <c:pt idx="108">
                  <c:v>15</c:v>
                </c:pt>
                <c:pt idx="109">
                  <c:v>11</c:v>
                </c:pt>
                <c:pt idx="110">
                  <c:v>8</c:v>
                </c:pt>
                <c:pt idx="111">
                  <c:v>5</c:v>
                </c:pt>
                <c:pt idx="112">
                  <c:v>19</c:v>
                </c:pt>
                <c:pt idx="113">
                  <c:v>31</c:v>
                </c:pt>
                <c:pt idx="114">
                  <c:v>19</c:v>
                </c:pt>
                <c:pt idx="115">
                  <c:v>19</c:v>
                </c:pt>
                <c:pt idx="116">
                  <c:v>14</c:v>
                </c:pt>
                <c:pt idx="117">
                  <c:v>9</c:v>
                </c:pt>
                <c:pt idx="118">
                  <c:v>12</c:v>
                </c:pt>
                <c:pt idx="119">
                  <c:v>39</c:v>
                </c:pt>
                <c:pt idx="120">
                  <c:v>56</c:v>
                </c:pt>
                <c:pt idx="121">
                  <c:v>48</c:v>
                </c:pt>
                <c:pt idx="122">
                  <c:v>54</c:v>
                </c:pt>
                <c:pt idx="123">
                  <c:v>46</c:v>
                </c:pt>
                <c:pt idx="124">
                  <c:v>28</c:v>
                </c:pt>
                <c:pt idx="125">
                  <c:v>22</c:v>
                </c:pt>
                <c:pt idx="126">
                  <c:v>81</c:v>
                </c:pt>
                <c:pt idx="127">
                  <c:v>88</c:v>
                </c:pt>
                <c:pt idx="128">
                  <c:v>64</c:v>
                </c:pt>
                <c:pt idx="129">
                  <c:v>43</c:v>
                </c:pt>
                <c:pt idx="130">
                  <c:v>82</c:v>
                </c:pt>
                <c:pt idx="131">
                  <c:v>55</c:v>
                </c:pt>
                <c:pt idx="132">
                  <c:v>42</c:v>
                </c:pt>
                <c:pt idx="133">
                  <c:v>135</c:v>
                </c:pt>
                <c:pt idx="134">
                  <c:v>129</c:v>
                </c:pt>
                <c:pt idx="135">
                  <c:v>108</c:v>
                </c:pt>
                <c:pt idx="136">
                  <c:v>114</c:v>
                </c:pt>
                <c:pt idx="137">
                  <c:v>133</c:v>
                </c:pt>
                <c:pt idx="138">
                  <c:v>55</c:v>
                </c:pt>
                <c:pt idx="139">
                  <c:v>40</c:v>
                </c:pt>
                <c:pt idx="140">
                  <c:v>130</c:v>
                </c:pt>
                <c:pt idx="141">
                  <c:v>146</c:v>
                </c:pt>
                <c:pt idx="142">
                  <c:v>148</c:v>
                </c:pt>
                <c:pt idx="143">
                  <c:v>121</c:v>
                </c:pt>
                <c:pt idx="144">
                  <c:v>172</c:v>
                </c:pt>
                <c:pt idx="145">
                  <c:v>93</c:v>
                </c:pt>
                <c:pt idx="146">
                  <c:v>53</c:v>
                </c:pt>
                <c:pt idx="147">
                  <c:v>166</c:v>
                </c:pt>
                <c:pt idx="148">
                  <c:v>198</c:v>
                </c:pt>
                <c:pt idx="149">
                  <c:v>143</c:v>
                </c:pt>
                <c:pt idx="150">
                  <c:v>165</c:v>
                </c:pt>
                <c:pt idx="151">
                  <c:v>260</c:v>
                </c:pt>
                <c:pt idx="152">
                  <c:v>124</c:v>
                </c:pt>
                <c:pt idx="153">
                  <c:v>89</c:v>
                </c:pt>
                <c:pt idx="154">
                  <c:v>204</c:v>
                </c:pt>
                <c:pt idx="155">
                  <c:v>219</c:v>
                </c:pt>
                <c:pt idx="156">
                  <c:v>185</c:v>
                </c:pt>
                <c:pt idx="157">
                  <c:v>263</c:v>
                </c:pt>
                <c:pt idx="158">
                  <c:v>158</c:v>
                </c:pt>
                <c:pt idx="159">
                  <c:v>118</c:v>
                </c:pt>
                <c:pt idx="160">
                  <c:v>85</c:v>
                </c:pt>
                <c:pt idx="161">
                  <c:v>207</c:v>
                </c:pt>
                <c:pt idx="162">
                  <c:v>199</c:v>
                </c:pt>
                <c:pt idx="163">
                  <c:v>172</c:v>
                </c:pt>
                <c:pt idx="164">
                  <c:v>134</c:v>
                </c:pt>
                <c:pt idx="165">
                  <c:v>161</c:v>
                </c:pt>
                <c:pt idx="166">
                  <c:v>99</c:v>
                </c:pt>
                <c:pt idx="167">
                  <c:v>65</c:v>
                </c:pt>
                <c:pt idx="168">
                  <c:v>197</c:v>
                </c:pt>
                <c:pt idx="169">
                  <c:v>167</c:v>
                </c:pt>
                <c:pt idx="170">
                  <c:v>141</c:v>
                </c:pt>
                <c:pt idx="171">
                  <c:v>117</c:v>
                </c:pt>
                <c:pt idx="172">
                  <c:v>100</c:v>
                </c:pt>
                <c:pt idx="173">
                  <c:v>79</c:v>
                </c:pt>
                <c:pt idx="174">
                  <c:v>63</c:v>
                </c:pt>
                <c:pt idx="175">
                  <c:v>123</c:v>
                </c:pt>
                <c:pt idx="176">
                  <c:v>174</c:v>
                </c:pt>
                <c:pt idx="177">
                  <c:v>96</c:v>
                </c:pt>
                <c:pt idx="178">
                  <c:v>90</c:v>
                </c:pt>
                <c:pt idx="179">
                  <c:v>97</c:v>
                </c:pt>
                <c:pt idx="180">
                  <c:v>63</c:v>
                </c:pt>
                <c:pt idx="181">
                  <c:v>43</c:v>
                </c:pt>
                <c:pt idx="182">
                  <c:v>107</c:v>
                </c:pt>
                <c:pt idx="183">
                  <c:v>99</c:v>
                </c:pt>
                <c:pt idx="184">
                  <c:v>45</c:v>
                </c:pt>
                <c:pt idx="185">
                  <c:v>78</c:v>
                </c:pt>
                <c:pt idx="186">
                  <c:v>22</c:v>
                </c:pt>
                <c:pt idx="187">
                  <c:v>14</c:v>
                </c:pt>
                <c:pt idx="188">
                  <c:v>22</c:v>
                </c:pt>
                <c:pt idx="189">
                  <c:v>70</c:v>
                </c:pt>
                <c:pt idx="190">
                  <c:v>94</c:v>
                </c:pt>
                <c:pt idx="191">
                  <c:v>67</c:v>
                </c:pt>
                <c:pt idx="192">
                  <c:v>64</c:v>
                </c:pt>
                <c:pt idx="193">
                  <c:v>76</c:v>
                </c:pt>
                <c:pt idx="194">
                  <c:v>15</c:v>
                </c:pt>
                <c:pt idx="195">
                  <c:v>28</c:v>
                </c:pt>
                <c:pt idx="196">
                  <c:v>101</c:v>
                </c:pt>
                <c:pt idx="197">
                  <c:v>97</c:v>
                </c:pt>
                <c:pt idx="198">
                  <c:v>86</c:v>
                </c:pt>
                <c:pt idx="199">
                  <c:v>78</c:v>
                </c:pt>
                <c:pt idx="200">
                  <c:v>78</c:v>
                </c:pt>
                <c:pt idx="201">
                  <c:v>35</c:v>
                </c:pt>
                <c:pt idx="202">
                  <c:v>28</c:v>
                </c:pt>
                <c:pt idx="203">
                  <c:v>83</c:v>
                </c:pt>
                <c:pt idx="204">
                  <c:v>115</c:v>
                </c:pt>
                <c:pt idx="205">
                  <c:v>115</c:v>
                </c:pt>
                <c:pt idx="206">
                  <c:v>95</c:v>
                </c:pt>
                <c:pt idx="207">
                  <c:v>112</c:v>
                </c:pt>
                <c:pt idx="208">
                  <c:v>79</c:v>
                </c:pt>
                <c:pt idx="209">
                  <c:v>68</c:v>
                </c:pt>
                <c:pt idx="210">
                  <c:v>212</c:v>
                </c:pt>
                <c:pt idx="211">
                  <c:v>248</c:v>
                </c:pt>
                <c:pt idx="212">
                  <c:v>305</c:v>
                </c:pt>
                <c:pt idx="213">
                  <c:v>297</c:v>
                </c:pt>
                <c:pt idx="214">
                  <c:v>263</c:v>
                </c:pt>
                <c:pt idx="215">
                  <c:v>174</c:v>
                </c:pt>
                <c:pt idx="216">
                  <c:v>166</c:v>
                </c:pt>
                <c:pt idx="217">
                  <c:v>369</c:v>
                </c:pt>
                <c:pt idx="218">
                  <c:v>358</c:v>
                </c:pt>
                <c:pt idx="219">
                  <c:v>451</c:v>
                </c:pt>
                <c:pt idx="220">
                  <c:v>644</c:v>
                </c:pt>
                <c:pt idx="221">
                  <c:v>543</c:v>
                </c:pt>
                <c:pt idx="222">
                  <c:v>222</c:v>
                </c:pt>
                <c:pt idx="223">
                  <c:v>240</c:v>
                </c:pt>
                <c:pt idx="224">
                  <c:v>514</c:v>
                </c:pt>
                <c:pt idx="225">
                  <c:v>657</c:v>
                </c:pt>
                <c:pt idx="226">
                  <c:v>515</c:v>
                </c:pt>
                <c:pt idx="227">
                  <c:v>484</c:v>
                </c:pt>
                <c:pt idx="228">
                  <c:v>411</c:v>
                </c:pt>
                <c:pt idx="229">
                  <c:v>268</c:v>
                </c:pt>
                <c:pt idx="230">
                  <c:v>147</c:v>
                </c:pt>
                <c:pt idx="231">
                  <c:v>573</c:v>
                </c:pt>
                <c:pt idx="232">
                  <c:v>486</c:v>
                </c:pt>
                <c:pt idx="233">
                  <c:v>411</c:v>
                </c:pt>
                <c:pt idx="234">
                  <c:v>359</c:v>
                </c:pt>
                <c:pt idx="235">
                  <c:v>311</c:v>
                </c:pt>
                <c:pt idx="236">
                  <c:v>159</c:v>
                </c:pt>
                <c:pt idx="237">
                  <c:v>122</c:v>
                </c:pt>
                <c:pt idx="238">
                  <c:v>323</c:v>
                </c:pt>
                <c:pt idx="239">
                  <c:v>374</c:v>
                </c:pt>
                <c:pt idx="240">
                  <c:v>250</c:v>
                </c:pt>
                <c:pt idx="241">
                  <c:v>233</c:v>
                </c:pt>
                <c:pt idx="242">
                  <c:v>197</c:v>
                </c:pt>
                <c:pt idx="243">
                  <c:v>108</c:v>
                </c:pt>
                <c:pt idx="244">
                  <c:v>70</c:v>
                </c:pt>
                <c:pt idx="245">
                  <c:v>260</c:v>
                </c:pt>
                <c:pt idx="246">
                  <c:v>211</c:v>
                </c:pt>
                <c:pt idx="247">
                  <c:v>160</c:v>
                </c:pt>
                <c:pt idx="248">
                  <c:v>171</c:v>
                </c:pt>
                <c:pt idx="249">
                  <c:v>133</c:v>
                </c:pt>
                <c:pt idx="250">
                  <c:v>85</c:v>
                </c:pt>
                <c:pt idx="251">
                  <c:v>52</c:v>
                </c:pt>
                <c:pt idx="252">
                  <c:v>218</c:v>
                </c:pt>
                <c:pt idx="253">
                  <c:v>182</c:v>
                </c:pt>
                <c:pt idx="254">
                  <c:v>146</c:v>
                </c:pt>
                <c:pt idx="255">
                  <c:v>124</c:v>
                </c:pt>
                <c:pt idx="256">
                  <c:v>11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A3F-4C94-8915-777191685E7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dateAx>
        <c:axId val="417147840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1"/>
        <c:majorTimeUnit val="days"/>
      </c:dateAx>
      <c:valAx>
        <c:axId val="419321824"/>
        <c:scaling>
          <c:orientation val="minMax"/>
          <c:min val="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519856463840257E-2"/>
          <c:y val="1.7338673528478215E-2"/>
          <c:w val="0.80334957098880577"/>
          <c:h val="0.7587762916834988"/>
        </c:manualLayout>
      </c:layout>
      <c:lineChart>
        <c:grouping val="standar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2020</c:v>
                </c:pt>
              </c:strCache>
            </c:strRef>
          </c:tx>
          <c:spPr>
            <a:ln w="28575" cap="rnd">
              <a:solidFill>
                <a:srgbClr val="00B0F0"/>
              </a:solidFill>
              <a:prstDash val="sysDash"/>
              <a:round/>
            </a:ln>
            <a:effectLst/>
          </c:spPr>
          <c:marker>
            <c:symbol val="none"/>
          </c:marker>
          <c:cat>
            <c:strRef>
              <c:f>List1!$B$1:$BB$1</c:f>
              <c:strCache>
                <c:ptCount val="53"/>
                <c:pt idx="0">
                  <c:v>01.01 - 07.01</c:v>
                </c:pt>
                <c:pt idx="1">
                  <c:v>08.01 - 14.01</c:v>
                </c:pt>
                <c:pt idx="2">
                  <c:v>15.01 - 21.01</c:v>
                </c:pt>
                <c:pt idx="3">
                  <c:v>22.01 - 28.01</c:v>
                </c:pt>
                <c:pt idx="4">
                  <c:v>29.01 - 04.02</c:v>
                </c:pt>
                <c:pt idx="5">
                  <c:v>05.02 - 11.02</c:v>
                </c:pt>
                <c:pt idx="6">
                  <c:v>12.02 - 18.02</c:v>
                </c:pt>
                <c:pt idx="7">
                  <c:v>19.02 - 25.02</c:v>
                </c:pt>
                <c:pt idx="8">
                  <c:v>26.02 - 04.03</c:v>
                </c:pt>
                <c:pt idx="9">
                  <c:v>05.03 - 10.03</c:v>
                </c:pt>
                <c:pt idx="10">
                  <c:v>11.03 - 17.03</c:v>
                </c:pt>
                <c:pt idx="11">
                  <c:v>18.03 - 24.03</c:v>
                </c:pt>
                <c:pt idx="12">
                  <c:v>25.03 - 31.03</c:v>
                </c:pt>
                <c:pt idx="13">
                  <c:v>01.04 - 07.04</c:v>
                </c:pt>
                <c:pt idx="14">
                  <c:v>08.04 - 14.04</c:v>
                </c:pt>
                <c:pt idx="15">
                  <c:v>15.04 - 21.04</c:v>
                </c:pt>
                <c:pt idx="16">
                  <c:v>22.04 - 28.04</c:v>
                </c:pt>
                <c:pt idx="17">
                  <c:v>29.04 - 05.05</c:v>
                </c:pt>
                <c:pt idx="18">
                  <c:v>06.05 - 12.05</c:v>
                </c:pt>
                <c:pt idx="19">
                  <c:v>13.05 - 19.05</c:v>
                </c:pt>
                <c:pt idx="20">
                  <c:v>20.05 - 26.05</c:v>
                </c:pt>
                <c:pt idx="21">
                  <c:v>27.05 - 02.06</c:v>
                </c:pt>
                <c:pt idx="22">
                  <c:v>03.06 - 09.06</c:v>
                </c:pt>
                <c:pt idx="23">
                  <c:v>10.06 - 16.06</c:v>
                </c:pt>
                <c:pt idx="24">
                  <c:v>17.06 - 23.06</c:v>
                </c:pt>
                <c:pt idx="25">
                  <c:v>24.06 - 30.06</c:v>
                </c:pt>
                <c:pt idx="26">
                  <c:v>01.07 - 07.07</c:v>
                </c:pt>
                <c:pt idx="27">
                  <c:v>08.07 - 14.07</c:v>
                </c:pt>
                <c:pt idx="28">
                  <c:v>15.07 - 21.07</c:v>
                </c:pt>
                <c:pt idx="29">
                  <c:v>22.07 - 28.07</c:v>
                </c:pt>
                <c:pt idx="30">
                  <c:v>29.07 - 04.08</c:v>
                </c:pt>
                <c:pt idx="31">
                  <c:v>05.08 - 11.08</c:v>
                </c:pt>
                <c:pt idx="32">
                  <c:v>12.08 - 18.08</c:v>
                </c:pt>
                <c:pt idx="33">
                  <c:v>19.08 - 25.08</c:v>
                </c:pt>
                <c:pt idx="34">
                  <c:v>26.08 - 01.09</c:v>
                </c:pt>
                <c:pt idx="35">
                  <c:v>02.09 - 08.09</c:v>
                </c:pt>
                <c:pt idx="36">
                  <c:v>09.09 - 15.09</c:v>
                </c:pt>
                <c:pt idx="37">
                  <c:v>16.09 - 22.09</c:v>
                </c:pt>
                <c:pt idx="38">
                  <c:v>23.09 - 29.09</c:v>
                </c:pt>
                <c:pt idx="39">
                  <c:v>30.09 - 06.10</c:v>
                </c:pt>
                <c:pt idx="40">
                  <c:v>07.10 - 13.10</c:v>
                </c:pt>
                <c:pt idx="41">
                  <c:v>14.10 - 20.10</c:v>
                </c:pt>
                <c:pt idx="42">
                  <c:v>21.10 - 27.10</c:v>
                </c:pt>
                <c:pt idx="43">
                  <c:v>28.10 - 03.11</c:v>
                </c:pt>
                <c:pt idx="44">
                  <c:v>04.11 - 10.11</c:v>
                </c:pt>
                <c:pt idx="45">
                  <c:v>11.11 - 17.11</c:v>
                </c:pt>
                <c:pt idx="46">
                  <c:v>18.11 - 24.11</c:v>
                </c:pt>
                <c:pt idx="47">
                  <c:v>25.11 - 01.12</c:v>
                </c:pt>
                <c:pt idx="48">
                  <c:v>02.12 - 08.12</c:v>
                </c:pt>
                <c:pt idx="49">
                  <c:v>09.12 - 15.12</c:v>
                </c:pt>
                <c:pt idx="50">
                  <c:v>16.12 - 22.12</c:v>
                </c:pt>
                <c:pt idx="51">
                  <c:v>23.12 - 29.12</c:v>
                </c:pt>
                <c:pt idx="52">
                  <c:v>30.12 - 31.12</c:v>
                </c:pt>
              </c:strCache>
            </c:strRef>
          </c:cat>
          <c:val>
            <c:numRef>
              <c:f>List1!$B$2:$BB$2</c:f>
              <c:numCache>
                <c:formatCode>General</c:formatCode>
                <c:ptCount val="53"/>
                <c:pt idx="9">
                  <c:v>0.3795383</c:v>
                </c:pt>
                <c:pt idx="10">
                  <c:v>0.48797780000000002</c:v>
                </c:pt>
                <c:pt idx="11">
                  <c:v>3.9038227999999999</c:v>
                </c:pt>
                <c:pt idx="12">
                  <c:v>8.9462606000000005</c:v>
                </c:pt>
                <c:pt idx="13">
                  <c:v>10.7266317</c:v>
                </c:pt>
                <c:pt idx="14">
                  <c:v>10.8733225</c:v>
                </c:pt>
                <c:pt idx="15">
                  <c:v>9.2370070000000002</c:v>
                </c:pt>
                <c:pt idx="16">
                  <c:v>3.3981737000000001</c:v>
                </c:pt>
                <c:pt idx="17">
                  <c:v>3.7173098000000002</c:v>
                </c:pt>
                <c:pt idx="18">
                  <c:v>1.2926325999999999</c:v>
                </c:pt>
                <c:pt idx="19">
                  <c:v>0.80774919999999995</c:v>
                </c:pt>
                <c:pt idx="20">
                  <c:v>0.64608239999999995</c:v>
                </c:pt>
                <c:pt idx="21">
                  <c:v>1.6149036000000001</c:v>
                </c:pt>
                <c:pt idx="22">
                  <c:v>2.2603138</c:v>
                </c:pt>
                <c:pt idx="23">
                  <c:v>1.6140903</c:v>
                </c:pt>
                <c:pt idx="24">
                  <c:v>2.2591394</c:v>
                </c:pt>
                <c:pt idx="25">
                  <c:v>1.6132518</c:v>
                </c:pt>
                <c:pt idx="26">
                  <c:v>1.2903100000000001</c:v>
                </c:pt>
                <c:pt idx="27">
                  <c:v>2.5802789000000002</c:v>
                </c:pt>
                <c:pt idx="28">
                  <c:v>3.0636760000000001</c:v>
                </c:pt>
                <c:pt idx="29">
                  <c:v>4.0306262999999998</c:v>
                </c:pt>
                <c:pt idx="30">
                  <c:v>4.0298790999999996</c:v>
                </c:pt>
                <c:pt idx="31">
                  <c:v>5.1563917000000004</c:v>
                </c:pt>
                <c:pt idx="32">
                  <c:v>8.0538123000000006</c:v>
                </c:pt>
                <c:pt idx="33">
                  <c:v>5.6355445</c:v>
                </c:pt>
                <c:pt idx="34">
                  <c:v>5.311401</c:v>
                </c:pt>
                <c:pt idx="35">
                  <c:v>15.273753900000001</c:v>
                </c:pt>
                <c:pt idx="36">
                  <c:v>29.541385999999999</c:v>
                </c:pt>
                <c:pt idx="37">
                  <c:v>45.693140800000002</c:v>
                </c:pt>
                <c:pt idx="38">
                  <c:v>48.190919200000003</c:v>
                </c:pt>
                <c:pt idx="39">
                  <c:v>99.745680399999998</c:v>
                </c:pt>
                <c:pt idx="40">
                  <c:v>175.0969657</c:v>
                </c:pt>
                <c:pt idx="41">
                  <c:v>315.74249689999999</c:v>
                </c:pt>
                <c:pt idx="42">
                  <c:v>415.71703230000003</c:v>
                </c:pt>
                <c:pt idx="43">
                  <c:v>339.36489820000003</c:v>
                </c:pt>
                <c:pt idx="44">
                  <c:v>253.58854700000001</c:v>
                </c:pt>
                <c:pt idx="45">
                  <c:v>167.7566645</c:v>
                </c:pt>
                <c:pt idx="46">
                  <c:v>136.7838673</c:v>
                </c:pt>
                <c:pt idx="47">
                  <c:v>107.92666610000001</c:v>
                </c:pt>
                <c:pt idx="48">
                  <c:v>123.7681638</c:v>
                </c:pt>
                <c:pt idx="49">
                  <c:v>137.60633390000001</c:v>
                </c:pt>
                <c:pt idx="50">
                  <c:v>165.3338627</c:v>
                </c:pt>
                <c:pt idx="51">
                  <c:v>182.24771139999999</c:v>
                </c:pt>
                <c:pt idx="52">
                  <c:v>310.8528178999999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7D87-4662-BB8A-7C8E4F3CFE2C}"/>
            </c:ext>
          </c:extLst>
        </c:ser>
        <c:ser>
          <c:idx val="1"/>
          <c:order val="1"/>
          <c:tx>
            <c:strRef>
              <c:f>List1!$A$3</c:f>
              <c:strCache>
                <c:ptCount val="1"/>
                <c:pt idx="0">
                  <c:v>2021</c:v>
                </c:pt>
              </c:strCache>
            </c:strRef>
          </c:tx>
          <c:spPr>
            <a:ln w="28575" cap="rnd">
              <a:solidFill>
                <a:srgbClr val="00B050"/>
              </a:solidFill>
              <a:round/>
            </a:ln>
            <a:effectLst/>
          </c:spPr>
          <c:marker>
            <c:symbol val="none"/>
          </c:marker>
          <c:cat>
            <c:strRef>
              <c:f>List1!$B$1:$BB$1</c:f>
              <c:strCache>
                <c:ptCount val="53"/>
                <c:pt idx="0">
                  <c:v>01.01 - 07.01</c:v>
                </c:pt>
                <c:pt idx="1">
                  <c:v>08.01 - 14.01</c:v>
                </c:pt>
                <c:pt idx="2">
                  <c:v>15.01 - 21.01</c:v>
                </c:pt>
                <c:pt idx="3">
                  <c:v>22.01 - 28.01</c:v>
                </c:pt>
                <c:pt idx="4">
                  <c:v>29.01 - 04.02</c:v>
                </c:pt>
                <c:pt idx="5">
                  <c:v>05.02 - 11.02</c:v>
                </c:pt>
                <c:pt idx="6">
                  <c:v>12.02 - 18.02</c:v>
                </c:pt>
                <c:pt idx="7">
                  <c:v>19.02 - 25.02</c:v>
                </c:pt>
                <c:pt idx="8">
                  <c:v>26.02 - 04.03</c:v>
                </c:pt>
                <c:pt idx="9">
                  <c:v>05.03 - 10.03</c:v>
                </c:pt>
                <c:pt idx="10">
                  <c:v>11.03 - 17.03</c:v>
                </c:pt>
                <c:pt idx="11">
                  <c:v>18.03 - 24.03</c:v>
                </c:pt>
                <c:pt idx="12">
                  <c:v>25.03 - 31.03</c:v>
                </c:pt>
                <c:pt idx="13">
                  <c:v>01.04 - 07.04</c:v>
                </c:pt>
                <c:pt idx="14">
                  <c:v>08.04 - 14.04</c:v>
                </c:pt>
                <c:pt idx="15">
                  <c:v>15.04 - 21.04</c:v>
                </c:pt>
                <c:pt idx="16">
                  <c:v>22.04 - 28.04</c:v>
                </c:pt>
                <c:pt idx="17">
                  <c:v>29.04 - 05.05</c:v>
                </c:pt>
                <c:pt idx="18">
                  <c:v>06.05 - 12.05</c:v>
                </c:pt>
                <c:pt idx="19">
                  <c:v>13.05 - 19.05</c:v>
                </c:pt>
                <c:pt idx="20">
                  <c:v>20.05 - 26.05</c:v>
                </c:pt>
                <c:pt idx="21">
                  <c:v>27.05 - 02.06</c:v>
                </c:pt>
                <c:pt idx="22">
                  <c:v>03.06 - 09.06</c:v>
                </c:pt>
                <c:pt idx="23">
                  <c:v>10.06 - 16.06</c:v>
                </c:pt>
                <c:pt idx="24">
                  <c:v>17.06 - 23.06</c:v>
                </c:pt>
                <c:pt idx="25">
                  <c:v>24.06 - 30.06</c:v>
                </c:pt>
                <c:pt idx="26">
                  <c:v>01.07 - 07.07</c:v>
                </c:pt>
                <c:pt idx="27">
                  <c:v>08.07 - 14.07</c:v>
                </c:pt>
                <c:pt idx="28">
                  <c:v>15.07 - 21.07</c:v>
                </c:pt>
                <c:pt idx="29">
                  <c:v>22.07 - 28.07</c:v>
                </c:pt>
                <c:pt idx="30">
                  <c:v>29.07 - 04.08</c:v>
                </c:pt>
                <c:pt idx="31">
                  <c:v>05.08 - 11.08</c:v>
                </c:pt>
                <c:pt idx="32">
                  <c:v>12.08 - 18.08</c:v>
                </c:pt>
                <c:pt idx="33">
                  <c:v>19.08 - 25.08</c:v>
                </c:pt>
                <c:pt idx="34">
                  <c:v>26.08 - 01.09</c:v>
                </c:pt>
                <c:pt idx="35">
                  <c:v>02.09 - 08.09</c:v>
                </c:pt>
                <c:pt idx="36">
                  <c:v>09.09 - 15.09</c:v>
                </c:pt>
                <c:pt idx="37">
                  <c:v>16.09 - 22.09</c:v>
                </c:pt>
                <c:pt idx="38">
                  <c:v>23.09 - 29.09</c:v>
                </c:pt>
                <c:pt idx="39">
                  <c:v>30.09 - 06.10</c:v>
                </c:pt>
                <c:pt idx="40">
                  <c:v>07.10 - 13.10</c:v>
                </c:pt>
                <c:pt idx="41">
                  <c:v>14.10 - 20.10</c:v>
                </c:pt>
                <c:pt idx="42">
                  <c:v>21.10 - 27.10</c:v>
                </c:pt>
                <c:pt idx="43">
                  <c:v>28.10 - 03.11</c:v>
                </c:pt>
                <c:pt idx="44">
                  <c:v>04.11 - 10.11</c:v>
                </c:pt>
                <c:pt idx="45">
                  <c:v>11.11 - 17.11</c:v>
                </c:pt>
                <c:pt idx="46">
                  <c:v>18.11 - 24.11</c:v>
                </c:pt>
                <c:pt idx="47">
                  <c:v>25.11 - 01.12</c:v>
                </c:pt>
                <c:pt idx="48">
                  <c:v>02.12 - 08.12</c:v>
                </c:pt>
                <c:pt idx="49">
                  <c:v>09.12 - 15.12</c:v>
                </c:pt>
                <c:pt idx="50">
                  <c:v>16.12 - 22.12</c:v>
                </c:pt>
                <c:pt idx="51">
                  <c:v>23.12 - 29.12</c:v>
                </c:pt>
                <c:pt idx="52">
                  <c:v>30.12 - 31.12</c:v>
                </c:pt>
              </c:strCache>
            </c:strRef>
          </c:cat>
          <c:val>
            <c:numRef>
              <c:f>List1!$B$3:$BB$3</c:f>
              <c:numCache>
                <c:formatCode>General</c:formatCode>
                <c:ptCount val="53"/>
                <c:pt idx="0">
                  <c:v>220.59368739999999</c:v>
                </c:pt>
                <c:pt idx="1">
                  <c:v>180.05458820000001</c:v>
                </c:pt>
                <c:pt idx="2">
                  <c:v>143.34157500000001</c:v>
                </c:pt>
                <c:pt idx="3">
                  <c:v>123.1456599</c:v>
                </c:pt>
                <c:pt idx="4">
                  <c:v>97.980790799999994</c:v>
                </c:pt>
                <c:pt idx="5">
                  <c:v>105.32788720000001</c:v>
                </c:pt>
                <c:pt idx="6">
                  <c:v>102.6114776</c:v>
                </c:pt>
                <c:pt idx="7">
                  <c:v>115.5572652</c:v>
                </c:pt>
                <c:pt idx="8">
                  <c:v>133.2977458</c:v>
                </c:pt>
                <c:pt idx="9">
                  <c:v>104.73249800000001</c:v>
                </c:pt>
                <c:pt idx="10">
                  <c:v>98.0307131</c:v>
                </c:pt>
                <c:pt idx="11">
                  <c:v>65.273343699999998</c:v>
                </c:pt>
                <c:pt idx="12">
                  <c:v>52.988603500000004</c:v>
                </c:pt>
                <c:pt idx="13">
                  <c:v>27.290303999999999</c:v>
                </c:pt>
                <c:pt idx="14">
                  <c:v>28.144666600000001</c:v>
                </c:pt>
                <c:pt idx="15">
                  <c:v>20.250337099999999</c:v>
                </c:pt>
                <c:pt idx="16">
                  <c:v>12.3953662</c:v>
                </c:pt>
                <c:pt idx="17">
                  <c:v>13.441907199999999</c:v>
                </c:pt>
                <c:pt idx="18">
                  <c:v>10.543123599999999</c:v>
                </c:pt>
                <c:pt idx="19">
                  <c:v>6.8793243999999998</c:v>
                </c:pt>
                <c:pt idx="20">
                  <c:v>3.3648764999999998</c:v>
                </c:pt>
                <c:pt idx="21">
                  <c:v>1.3771827999999999</c:v>
                </c:pt>
                <c:pt idx="22">
                  <c:v>1.6835659999999999</c:v>
                </c:pt>
                <c:pt idx="23">
                  <c:v>0.45921339999999999</c:v>
                </c:pt>
                <c:pt idx="24">
                  <c:v>1.2247266000000001</c:v>
                </c:pt>
                <c:pt idx="25">
                  <c:v>0.91866309999999995</c:v>
                </c:pt>
                <c:pt idx="26">
                  <c:v>0.4592099</c:v>
                </c:pt>
                <c:pt idx="27">
                  <c:v>2.4476507999999999</c:v>
                </c:pt>
                <c:pt idx="28">
                  <c:v>2.9048699999999998</c:v>
                </c:pt>
                <c:pt idx="29">
                  <c:v>2.1391518</c:v>
                </c:pt>
                <c:pt idx="30">
                  <c:v>1.9858636999999999</c:v>
                </c:pt>
                <c:pt idx="31">
                  <c:v>2.140784</c:v>
                </c:pt>
                <c:pt idx="32">
                  <c:v>2.1431665</c:v>
                </c:pt>
                <c:pt idx="33">
                  <c:v>2.4520583999999999</c:v>
                </c:pt>
                <c:pt idx="34">
                  <c:v>1.3808001000000001</c:v>
                </c:pt>
                <c:pt idx="35">
                  <c:v>3.9912928000000001</c:v>
                </c:pt>
                <c:pt idx="36">
                  <c:v>2.7641361999999998</c:v>
                </c:pt>
                <c:pt idx="37">
                  <c:v>6.7590712999999996</c:v>
                </c:pt>
                <c:pt idx="38">
                  <c:v>5.5320188000000003</c:v>
                </c:pt>
                <c:pt idx="39">
                  <c:v>9.8399622000000004</c:v>
                </c:pt>
                <c:pt idx="40">
                  <c:v>16.001132299999998</c:v>
                </c:pt>
                <c:pt idx="41">
                  <c:v>29.099127899999999</c:v>
                </c:pt>
                <c:pt idx="42">
                  <c:v>55.927722199999998</c:v>
                </c:pt>
                <c:pt idx="43">
                  <c:v>88.033326200000005</c:v>
                </c:pt>
                <c:pt idx="44">
                  <c:v>112.2992342</c:v>
                </c:pt>
                <c:pt idx="45">
                  <c:v>138.43959889999999</c:v>
                </c:pt>
                <c:pt idx="46">
                  <c:v>181.59301540000001</c:v>
                </c:pt>
                <c:pt idx="47">
                  <c:v>172.727048</c:v>
                </c:pt>
                <c:pt idx="48">
                  <c:v>139.5762939</c:v>
                </c:pt>
                <c:pt idx="49">
                  <c:v>108.39228420000001</c:v>
                </c:pt>
                <c:pt idx="50">
                  <c:v>79.042212500000005</c:v>
                </c:pt>
                <c:pt idx="51">
                  <c:v>52.146436999999999</c:v>
                </c:pt>
                <c:pt idx="52">
                  <c:v>70.42177220000000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7D87-4662-BB8A-7C8E4F3CFE2C}"/>
            </c:ext>
          </c:extLst>
        </c:ser>
        <c:ser>
          <c:idx val="2"/>
          <c:order val="2"/>
          <c:tx>
            <c:strRef>
              <c:f>List1!$A$4</c:f>
              <c:strCache>
                <c:ptCount val="1"/>
                <c:pt idx="0">
                  <c:v>2022</c:v>
                </c:pt>
              </c:strCache>
            </c:strRef>
          </c:tx>
          <c:spPr>
            <a:ln w="28575" cap="flat">
              <a:solidFill>
                <a:srgbClr val="FFC000"/>
              </a:solidFill>
              <a:prstDash val="solid"/>
              <a:round/>
              <a:headEnd type="none"/>
            </a:ln>
            <a:effectLst/>
          </c:spPr>
          <c:marker>
            <c:symbol val="none"/>
          </c:marker>
          <c:dPt>
            <c:idx val="1"/>
            <c:marker>
              <c:symbol val="none"/>
            </c:marker>
            <c:bubble3D val="0"/>
            <c:extLst>
              <c:ext xmlns:c16="http://schemas.microsoft.com/office/drawing/2014/chart" uri="{C3380CC4-5D6E-409C-BE32-E72D297353CC}">
                <c16:uniqueId val="{00000002-7D87-4662-BB8A-7C8E4F3CFE2C}"/>
              </c:ext>
            </c:extLst>
          </c:dPt>
          <c:cat>
            <c:strRef>
              <c:f>List1!$B$1:$BB$1</c:f>
              <c:strCache>
                <c:ptCount val="53"/>
                <c:pt idx="0">
                  <c:v>01.01 - 07.01</c:v>
                </c:pt>
                <c:pt idx="1">
                  <c:v>08.01 - 14.01</c:v>
                </c:pt>
                <c:pt idx="2">
                  <c:v>15.01 - 21.01</c:v>
                </c:pt>
                <c:pt idx="3">
                  <c:v>22.01 - 28.01</c:v>
                </c:pt>
                <c:pt idx="4">
                  <c:v>29.01 - 04.02</c:v>
                </c:pt>
                <c:pt idx="5">
                  <c:v>05.02 - 11.02</c:v>
                </c:pt>
                <c:pt idx="6">
                  <c:v>12.02 - 18.02</c:v>
                </c:pt>
                <c:pt idx="7">
                  <c:v>19.02 - 25.02</c:v>
                </c:pt>
                <c:pt idx="8">
                  <c:v>26.02 - 04.03</c:v>
                </c:pt>
                <c:pt idx="9">
                  <c:v>05.03 - 10.03</c:v>
                </c:pt>
                <c:pt idx="10">
                  <c:v>11.03 - 17.03</c:v>
                </c:pt>
                <c:pt idx="11">
                  <c:v>18.03 - 24.03</c:v>
                </c:pt>
                <c:pt idx="12">
                  <c:v>25.03 - 31.03</c:v>
                </c:pt>
                <c:pt idx="13">
                  <c:v>01.04 - 07.04</c:v>
                </c:pt>
                <c:pt idx="14">
                  <c:v>08.04 - 14.04</c:v>
                </c:pt>
                <c:pt idx="15">
                  <c:v>15.04 - 21.04</c:v>
                </c:pt>
                <c:pt idx="16">
                  <c:v>22.04 - 28.04</c:v>
                </c:pt>
                <c:pt idx="17">
                  <c:v>29.04 - 05.05</c:v>
                </c:pt>
                <c:pt idx="18">
                  <c:v>06.05 - 12.05</c:v>
                </c:pt>
                <c:pt idx="19">
                  <c:v>13.05 - 19.05</c:v>
                </c:pt>
                <c:pt idx="20">
                  <c:v>20.05 - 26.05</c:v>
                </c:pt>
                <c:pt idx="21">
                  <c:v>27.05 - 02.06</c:v>
                </c:pt>
                <c:pt idx="22">
                  <c:v>03.06 - 09.06</c:v>
                </c:pt>
                <c:pt idx="23">
                  <c:v>10.06 - 16.06</c:v>
                </c:pt>
                <c:pt idx="24">
                  <c:v>17.06 - 23.06</c:v>
                </c:pt>
                <c:pt idx="25">
                  <c:v>24.06 - 30.06</c:v>
                </c:pt>
                <c:pt idx="26">
                  <c:v>01.07 - 07.07</c:v>
                </c:pt>
                <c:pt idx="27">
                  <c:v>08.07 - 14.07</c:v>
                </c:pt>
                <c:pt idx="28">
                  <c:v>15.07 - 21.07</c:v>
                </c:pt>
                <c:pt idx="29">
                  <c:v>22.07 - 28.07</c:v>
                </c:pt>
                <c:pt idx="30">
                  <c:v>29.07 - 04.08</c:v>
                </c:pt>
                <c:pt idx="31">
                  <c:v>05.08 - 11.08</c:v>
                </c:pt>
                <c:pt idx="32">
                  <c:v>12.08 - 18.08</c:v>
                </c:pt>
                <c:pt idx="33">
                  <c:v>19.08 - 25.08</c:v>
                </c:pt>
                <c:pt idx="34">
                  <c:v>26.08 - 01.09</c:v>
                </c:pt>
                <c:pt idx="35">
                  <c:v>02.09 - 08.09</c:v>
                </c:pt>
                <c:pt idx="36">
                  <c:v>09.09 - 15.09</c:v>
                </c:pt>
                <c:pt idx="37">
                  <c:v>16.09 - 22.09</c:v>
                </c:pt>
                <c:pt idx="38">
                  <c:v>23.09 - 29.09</c:v>
                </c:pt>
                <c:pt idx="39">
                  <c:v>30.09 - 06.10</c:v>
                </c:pt>
                <c:pt idx="40">
                  <c:v>07.10 - 13.10</c:v>
                </c:pt>
                <c:pt idx="41">
                  <c:v>14.10 - 20.10</c:v>
                </c:pt>
                <c:pt idx="42">
                  <c:v>21.10 - 27.10</c:v>
                </c:pt>
                <c:pt idx="43">
                  <c:v>28.10 - 03.11</c:v>
                </c:pt>
                <c:pt idx="44">
                  <c:v>04.11 - 10.11</c:v>
                </c:pt>
                <c:pt idx="45">
                  <c:v>11.11 - 17.11</c:v>
                </c:pt>
                <c:pt idx="46">
                  <c:v>18.11 - 24.11</c:v>
                </c:pt>
                <c:pt idx="47">
                  <c:v>25.11 - 01.12</c:v>
                </c:pt>
                <c:pt idx="48">
                  <c:v>02.12 - 08.12</c:v>
                </c:pt>
                <c:pt idx="49">
                  <c:v>09.12 - 15.12</c:v>
                </c:pt>
                <c:pt idx="50">
                  <c:v>16.12 - 22.12</c:v>
                </c:pt>
                <c:pt idx="51">
                  <c:v>23.12 - 29.12</c:v>
                </c:pt>
                <c:pt idx="52">
                  <c:v>30.12 - 31.12</c:v>
                </c:pt>
              </c:strCache>
            </c:strRef>
          </c:cat>
          <c:val>
            <c:numRef>
              <c:f>List1!$B$4:$BB$4</c:f>
              <c:numCache>
                <c:formatCode>General</c:formatCode>
                <c:ptCount val="53"/>
                <c:pt idx="0">
                  <c:v>63.569932299999998</c:v>
                </c:pt>
                <c:pt idx="1">
                  <c:v>77.140453100000002</c:v>
                </c:pt>
                <c:pt idx="2">
                  <c:v>174.56989340000001</c:v>
                </c:pt>
                <c:pt idx="3">
                  <c:v>305.77689859999998</c:v>
                </c:pt>
                <c:pt idx="4">
                  <c:v>337.15304140000001</c:v>
                </c:pt>
                <c:pt idx="5">
                  <c:v>286.96792010000001</c:v>
                </c:pt>
                <c:pt idx="6">
                  <c:v>182.0269223</c:v>
                </c:pt>
                <c:pt idx="7">
                  <c:v>123.65775549999999</c:v>
                </c:pt>
                <c:pt idx="8">
                  <c:v>102.4960619999999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7D87-4662-BB8A-7C8E4F3CFE2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88445264"/>
        <c:axId val="494149648"/>
      </c:line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tickLblSkip val="1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  <c:majorUnit val="50"/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87596356464825076"/>
          <c:y val="0.27782564669163051"/>
          <c:w val="7.847404993676986E-2"/>
          <c:h val="0.16275051734771301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65896097904626E-2"/>
          <c:y val="0.11530977652557951"/>
          <c:w val="0.91692139603581668"/>
          <c:h val="0.71344666460445894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135:$A$391</c:f>
              <c:numCache>
                <c:formatCode>m/d/yyyy</c:formatCode>
                <c:ptCount val="257"/>
                <c:pt idx="0">
                  <c:v>44364</c:v>
                </c:pt>
                <c:pt idx="1">
                  <c:v>44365</c:v>
                </c:pt>
                <c:pt idx="2">
                  <c:v>44366</c:v>
                </c:pt>
                <c:pt idx="3">
                  <c:v>44367</c:v>
                </c:pt>
                <c:pt idx="4">
                  <c:v>44369</c:v>
                </c:pt>
                <c:pt idx="5">
                  <c:v>44370</c:v>
                </c:pt>
                <c:pt idx="6">
                  <c:v>44371</c:v>
                </c:pt>
                <c:pt idx="7">
                  <c:v>44373</c:v>
                </c:pt>
                <c:pt idx="8">
                  <c:v>44374</c:v>
                </c:pt>
                <c:pt idx="9">
                  <c:v>44375</c:v>
                </c:pt>
                <c:pt idx="10">
                  <c:v>44376</c:v>
                </c:pt>
                <c:pt idx="11">
                  <c:v>44378</c:v>
                </c:pt>
                <c:pt idx="12">
                  <c:v>44379</c:v>
                </c:pt>
                <c:pt idx="13">
                  <c:v>44381</c:v>
                </c:pt>
                <c:pt idx="14">
                  <c:v>44382</c:v>
                </c:pt>
                <c:pt idx="15">
                  <c:v>44383</c:v>
                </c:pt>
                <c:pt idx="16">
                  <c:v>44384</c:v>
                </c:pt>
                <c:pt idx="17">
                  <c:v>44385</c:v>
                </c:pt>
                <c:pt idx="18">
                  <c:v>44386</c:v>
                </c:pt>
                <c:pt idx="19">
                  <c:v>44387</c:v>
                </c:pt>
                <c:pt idx="20">
                  <c:v>44388</c:v>
                </c:pt>
                <c:pt idx="21">
                  <c:v>44389</c:v>
                </c:pt>
                <c:pt idx="22">
                  <c:v>44390</c:v>
                </c:pt>
                <c:pt idx="23">
                  <c:v>44391</c:v>
                </c:pt>
                <c:pt idx="24">
                  <c:v>44392</c:v>
                </c:pt>
                <c:pt idx="25">
                  <c:v>44393</c:v>
                </c:pt>
                <c:pt idx="26">
                  <c:v>44394</c:v>
                </c:pt>
                <c:pt idx="27">
                  <c:v>44395</c:v>
                </c:pt>
                <c:pt idx="28">
                  <c:v>44396</c:v>
                </c:pt>
                <c:pt idx="29">
                  <c:v>44397</c:v>
                </c:pt>
                <c:pt idx="30">
                  <c:v>44398</c:v>
                </c:pt>
                <c:pt idx="31">
                  <c:v>44399</c:v>
                </c:pt>
                <c:pt idx="32">
                  <c:v>44400</c:v>
                </c:pt>
                <c:pt idx="33">
                  <c:v>44401</c:v>
                </c:pt>
                <c:pt idx="34">
                  <c:v>44402</c:v>
                </c:pt>
                <c:pt idx="35">
                  <c:v>44403</c:v>
                </c:pt>
                <c:pt idx="36">
                  <c:v>44404</c:v>
                </c:pt>
                <c:pt idx="37">
                  <c:v>44405</c:v>
                </c:pt>
                <c:pt idx="38">
                  <c:v>44406</c:v>
                </c:pt>
                <c:pt idx="39">
                  <c:v>44407</c:v>
                </c:pt>
                <c:pt idx="40">
                  <c:v>44408</c:v>
                </c:pt>
                <c:pt idx="41">
                  <c:v>44409</c:v>
                </c:pt>
                <c:pt idx="42">
                  <c:v>44410</c:v>
                </c:pt>
                <c:pt idx="43">
                  <c:v>44411</c:v>
                </c:pt>
                <c:pt idx="44">
                  <c:v>44412</c:v>
                </c:pt>
                <c:pt idx="45">
                  <c:v>44413</c:v>
                </c:pt>
                <c:pt idx="46">
                  <c:v>44414</c:v>
                </c:pt>
                <c:pt idx="47">
                  <c:v>44415</c:v>
                </c:pt>
                <c:pt idx="48">
                  <c:v>44416</c:v>
                </c:pt>
                <c:pt idx="49">
                  <c:v>44417</c:v>
                </c:pt>
                <c:pt idx="50">
                  <c:v>44418</c:v>
                </c:pt>
                <c:pt idx="51">
                  <c:v>44419</c:v>
                </c:pt>
                <c:pt idx="52">
                  <c:v>44420</c:v>
                </c:pt>
                <c:pt idx="53">
                  <c:v>44421</c:v>
                </c:pt>
                <c:pt idx="54">
                  <c:v>44422</c:v>
                </c:pt>
                <c:pt idx="55">
                  <c:v>44423</c:v>
                </c:pt>
                <c:pt idx="56">
                  <c:v>44424</c:v>
                </c:pt>
                <c:pt idx="57">
                  <c:v>44425</c:v>
                </c:pt>
                <c:pt idx="58">
                  <c:v>44426</c:v>
                </c:pt>
                <c:pt idx="59">
                  <c:v>44427</c:v>
                </c:pt>
                <c:pt idx="60">
                  <c:v>44428</c:v>
                </c:pt>
                <c:pt idx="61">
                  <c:v>44429</c:v>
                </c:pt>
                <c:pt idx="62">
                  <c:v>44430</c:v>
                </c:pt>
                <c:pt idx="63">
                  <c:v>44431</c:v>
                </c:pt>
                <c:pt idx="64">
                  <c:v>44432</c:v>
                </c:pt>
                <c:pt idx="65">
                  <c:v>44433</c:v>
                </c:pt>
                <c:pt idx="66">
                  <c:v>44434</c:v>
                </c:pt>
                <c:pt idx="67">
                  <c:v>44435</c:v>
                </c:pt>
                <c:pt idx="68">
                  <c:v>44436</c:v>
                </c:pt>
                <c:pt idx="69">
                  <c:v>44437</c:v>
                </c:pt>
                <c:pt idx="70">
                  <c:v>44438</c:v>
                </c:pt>
                <c:pt idx="71">
                  <c:v>44439</c:v>
                </c:pt>
                <c:pt idx="72">
                  <c:v>44440</c:v>
                </c:pt>
                <c:pt idx="73">
                  <c:v>44441</c:v>
                </c:pt>
                <c:pt idx="74">
                  <c:v>44442</c:v>
                </c:pt>
                <c:pt idx="75">
                  <c:v>44443</c:v>
                </c:pt>
                <c:pt idx="76">
                  <c:v>44444</c:v>
                </c:pt>
                <c:pt idx="77">
                  <c:v>44445</c:v>
                </c:pt>
                <c:pt idx="78">
                  <c:v>44446</c:v>
                </c:pt>
                <c:pt idx="79">
                  <c:v>44447</c:v>
                </c:pt>
                <c:pt idx="80">
                  <c:v>44448</c:v>
                </c:pt>
                <c:pt idx="81">
                  <c:v>44449</c:v>
                </c:pt>
                <c:pt idx="82">
                  <c:v>44450</c:v>
                </c:pt>
                <c:pt idx="83">
                  <c:v>44451</c:v>
                </c:pt>
                <c:pt idx="84">
                  <c:v>44452</c:v>
                </c:pt>
                <c:pt idx="85">
                  <c:v>44453</c:v>
                </c:pt>
                <c:pt idx="86">
                  <c:v>44454</c:v>
                </c:pt>
                <c:pt idx="87">
                  <c:v>44455</c:v>
                </c:pt>
                <c:pt idx="88">
                  <c:v>44456</c:v>
                </c:pt>
                <c:pt idx="89">
                  <c:v>44457</c:v>
                </c:pt>
                <c:pt idx="90">
                  <c:v>44458</c:v>
                </c:pt>
                <c:pt idx="91">
                  <c:v>44459</c:v>
                </c:pt>
                <c:pt idx="92">
                  <c:v>44460</c:v>
                </c:pt>
                <c:pt idx="93">
                  <c:v>44461</c:v>
                </c:pt>
                <c:pt idx="94">
                  <c:v>44462</c:v>
                </c:pt>
                <c:pt idx="95">
                  <c:v>44463</c:v>
                </c:pt>
                <c:pt idx="96">
                  <c:v>44464</c:v>
                </c:pt>
                <c:pt idx="97">
                  <c:v>44465</c:v>
                </c:pt>
                <c:pt idx="98">
                  <c:v>44466</c:v>
                </c:pt>
                <c:pt idx="99">
                  <c:v>44467</c:v>
                </c:pt>
                <c:pt idx="100">
                  <c:v>44468</c:v>
                </c:pt>
                <c:pt idx="101">
                  <c:v>44469</c:v>
                </c:pt>
                <c:pt idx="102">
                  <c:v>44470</c:v>
                </c:pt>
                <c:pt idx="103">
                  <c:v>44471</c:v>
                </c:pt>
                <c:pt idx="104">
                  <c:v>44472</c:v>
                </c:pt>
                <c:pt idx="105">
                  <c:v>44473</c:v>
                </c:pt>
                <c:pt idx="106">
                  <c:v>44474</c:v>
                </c:pt>
                <c:pt idx="107">
                  <c:v>44475</c:v>
                </c:pt>
                <c:pt idx="108">
                  <c:v>44476</c:v>
                </c:pt>
                <c:pt idx="109">
                  <c:v>44477</c:v>
                </c:pt>
                <c:pt idx="110">
                  <c:v>44478</c:v>
                </c:pt>
                <c:pt idx="111">
                  <c:v>44479</c:v>
                </c:pt>
                <c:pt idx="112">
                  <c:v>44480</c:v>
                </c:pt>
                <c:pt idx="113">
                  <c:v>44481</c:v>
                </c:pt>
                <c:pt idx="114">
                  <c:v>44482</c:v>
                </c:pt>
                <c:pt idx="115">
                  <c:v>44483</c:v>
                </c:pt>
                <c:pt idx="116">
                  <c:v>44484</c:v>
                </c:pt>
                <c:pt idx="117">
                  <c:v>44485</c:v>
                </c:pt>
                <c:pt idx="118">
                  <c:v>44486</c:v>
                </c:pt>
                <c:pt idx="119">
                  <c:v>44487</c:v>
                </c:pt>
                <c:pt idx="120">
                  <c:v>44488</c:v>
                </c:pt>
                <c:pt idx="121">
                  <c:v>44489</c:v>
                </c:pt>
                <c:pt idx="122">
                  <c:v>44490</c:v>
                </c:pt>
                <c:pt idx="123">
                  <c:v>44491</c:v>
                </c:pt>
                <c:pt idx="124">
                  <c:v>44492</c:v>
                </c:pt>
                <c:pt idx="125">
                  <c:v>44493</c:v>
                </c:pt>
                <c:pt idx="126">
                  <c:v>44494</c:v>
                </c:pt>
                <c:pt idx="127">
                  <c:v>44495</c:v>
                </c:pt>
                <c:pt idx="128">
                  <c:v>44496</c:v>
                </c:pt>
                <c:pt idx="129">
                  <c:v>44497</c:v>
                </c:pt>
                <c:pt idx="130">
                  <c:v>44498</c:v>
                </c:pt>
                <c:pt idx="131">
                  <c:v>44499</c:v>
                </c:pt>
                <c:pt idx="132">
                  <c:v>44500</c:v>
                </c:pt>
                <c:pt idx="133">
                  <c:v>44501</c:v>
                </c:pt>
                <c:pt idx="134">
                  <c:v>44502</c:v>
                </c:pt>
                <c:pt idx="135">
                  <c:v>44503</c:v>
                </c:pt>
                <c:pt idx="136">
                  <c:v>44504</c:v>
                </c:pt>
                <c:pt idx="137">
                  <c:v>44505</c:v>
                </c:pt>
                <c:pt idx="138">
                  <c:v>44506</c:v>
                </c:pt>
                <c:pt idx="139">
                  <c:v>44507</c:v>
                </c:pt>
                <c:pt idx="140">
                  <c:v>44508</c:v>
                </c:pt>
                <c:pt idx="141">
                  <c:v>44509</c:v>
                </c:pt>
                <c:pt idx="142">
                  <c:v>44510</c:v>
                </c:pt>
                <c:pt idx="143">
                  <c:v>44511</c:v>
                </c:pt>
                <c:pt idx="144">
                  <c:v>44512</c:v>
                </c:pt>
                <c:pt idx="145">
                  <c:v>44513</c:v>
                </c:pt>
                <c:pt idx="146">
                  <c:v>44514</c:v>
                </c:pt>
                <c:pt idx="147">
                  <c:v>44515</c:v>
                </c:pt>
                <c:pt idx="148">
                  <c:v>44516</c:v>
                </c:pt>
                <c:pt idx="149">
                  <c:v>44517</c:v>
                </c:pt>
                <c:pt idx="150">
                  <c:v>44518</c:v>
                </c:pt>
                <c:pt idx="151">
                  <c:v>44519</c:v>
                </c:pt>
                <c:pt idx="152">
                  <c:v>44520</c:v>
                </c:pt>
                <c:pt idx="153">
                  <c:v>44521</c:v>
                </c:pt>
                <c:pt idx="154">
                  <c:v>44522</c:v>
                </c:pt>
                <c:pt idx="155">
                  <c:v>44523</c:v>
                </c:pt>
                <c:pt idx="156">
                  <c:v>44524</c:v>
                </c:pt>
                <c:pt idx="157">
                  <c:v>44525</c:v>
                </c:pt>
                <c:pt idx="158">
                  <c:v>44526</c:v>
                </c:pt>
                <c:pt idx="159">
                  <c:v>44527</c:v>
                </c:pt>
                <c:pt idx="160">
                  <c:v>44528</c:v>
                </c:pt>
                <c:pt idx="161">
                  <c:v>44529</c:v>
                </c:pt>
                <c:pt idx="162">
                  <c:v>44530</c:v>
                </c:pt>
                <c:pt idx="163">
                  <c:v>44531</c:v>
                </c:pt>
                <c:pt idx="164">
                  <c:v>44532</c:v>
                </c:pt>
                <c:pt idx="165">
                  <c:v>44533</c:v>
                </c:pt>
                <c:pt idx="166">
                  <c:v>44534</c:v>
                </c:pt>
                <c:pt idx="167">
                  <c:v>44535</c:v>
                </c:pt>
                <c:pt idx="168">
                  <c:v>44536</c:v>
                </c:pt>
                <c:pt idx="169">
                  <c:v>44537</c:v>
                </c:pt>
                <c:pt idx="170">
                  <c:v>44538</c:v>
                </c:pt>
                <c:pt idx="171">
                  <c:v>44539</c:v>
                </c:pt>
                <c:pt idx="172">
                  <c:v>44540</c:v>
                </c:pt>
                <c:pt idx="173">
                  <c:v>44541</c:v>
                </c:pt>
                <c:pt idx="174">
                  <c:v>44542</c:v>
                </c:pt>
                <c:pt idx="175">
                  <c:v>44543</c:v>
                </c:pt>
                <c:pt idx="176">
                  <c:v>44544</c:v>
                </c:pt>
                <c:pt idx="177">
                  <c:v>44545</c:v>
                </c:pt>
                <c:pt idx="178">
                  <c:v>44546</c:v>
                </c:pt>
                <c:pt idx="179">
                  <c:v>44547</c:v>
                </c:pt>
                <c:pt idx="180">
                  <c:v>44548</c:v>
                </c:pt>
                <c:pt idx="181">
                  <c:v>44549</c:v>
                </c:pt>
                <c:pt idx="182">
                  <c:v>44550</c:v>
                </c:pt>
                <c:pt idx="183">
                  <c:v>44551</c:v>
                </c:pt>
                <c:pt idx="184">
                  <c:v>44552</c:v>
                </c:pt>
                <c:pt idx="185">
                  <c:v>44553</c:v>
                </c:pt>
                <c:pt idx="186">
                  <c:v>44554</c:v>
                </c:pt>
                <c:pt idx="187">
                  <c:v>44555</c:v>
                </c:pt>
                <c:pt idx="188">
                  <c:v>44556</c:v>
                </c:pt>
                <c:pt idx="189">
                  <c:v>44557</c:v>
                </c:pt>
                <c:pt idx="190">
                  <c:v>44558</c:v>
                </c:pt>
                <c:pt idx="191">
                  <c:v>44559</c:v>
                </c:pt>
                <c:pt idx="192">
                  <c:v>44560</c:v>
                </c:pt>
                <c:pt idx="193">
                  <c:v>44561</c:v>
                </c:pt>
                <c:pt idx="194">
                  <c:v>44562</c:v>
                </c:pt>
                <c:pt idx="195">
                  <c:v>44563</c:v>
                </c:pt>
                <c:pt idx="196">
                  <c:v>44564</c:v>
                </c:pt>
                <c:pt idx="197">
                  <c:v>44565</c:v>
                </c:pt>
                <c:pt idx="198">
                  <c:v>44566</c:v>
                </c:pt>
                <c:pt idx="199">
                  <c:v>44567</c:v>
                </c:pt>
                <c:pt idx="200">
                  <c:v>44568</c:v>
                </c:pt>
                <c:pt idx="201">
                  <c:v>44569</c:v>
                </c:pt>
                <c:pt idx="202">
                  <c:v>44570</c:v>
                </c:pt>
                <c:pt idx="203">
                  <c:v>44571</c:v>
                </c:pt>
                <c:pt idx="204">
                  <c:v>44572</c:v>
                </c:pt>
                <c:pt idx="205">
                  <c:v>44573</c:v>
                </c:pt>
                <c:pt idx="206">
                  <c:v>44574</c:v>
                </c:pt>
                <c:pt idx="207">
                  <c:v>44575</c:v>
                </c:pt>
                <c:pt idx="208">
                  <c:v>44576</c:v>
                </c:pt>
                <c:pt idx="209">
                  <c:v>44577</c:v>
                </c:pt>
                <c:pt idx="210">
                  <c:v>44578</c:v>
                </c:pt>
                <c:pt idx="211">
                  <c:v>44579</c:v>
                </c:pt>
                <c:pt idx="212">
                  <c:v>44580</c:v>
                </c:pt>
                <c:pt idx="213">
                  <c:v>44581</c:v>
                </c:pt>
                <c:pt idx="214">
                  <c:v>44582</c:v>
                </c:pt>
                <c:pt idx="215">
                  <c:v>44583</c:v>
                </c:pt>
                <c:pt idx="216">
                  <c:v>44584</c:v>
                </c:pt>
                <c:pt idx="217">
                  <c:v>44585</c:v>
                </c:pt>
                <c:pt idx="218">
                  <c:v>44586</c:v>
                </c:pt>
                <c:pt idx="219">
                  <c:v>44587</c:v>
                </c:pt>
                <c:pt idx="220">
                  <c:v>44588</c:v>
                </c:pt>
                <c:pt idx="221">
                  <c:v>44589</c:v>
                </c:pt>
                <c:pt idx="222">
                  <c:v>44590</c:v>
                </c:pt>
                <c:pt idx="223">
                  <c:v>44591</c:v>
                </c:pt>
                <c:pt idx="224">
                  <c:v>44592</c:v>
                </c:pt>
                <c:pt idx="225">
                  <c:v>44593</c:v>
                </c:pt>
                <c:pt idx="226">
                  <c:v>44594</c:v>
                </c:pt>
                <c:pt idx="227">
                  <c:v>44595</c:v>
                </c:pt>
                <c:pt idx="228">
                  <c:v>44596</c:v>
                </c:pt>
                <c:pt idx="229">
                  <c:v>44597</c:v>
                </c:pt>
                <c:pt idx="230">
                  <c:v>44598</c:v>
                </c:pt>
                <c:pt idx="231">
                  <c:v>44599</c:v>
                </c:pt>
                <c:pt idx="232">
                  <c:v>44600</c:v>
                </c:pt>
                <c:pt idx="233">
                  <c:v>44601</c:v>
                </c:pt>
                <c:pt idx="234">
                  <c:v>44602</c:v>
                </c:pt>
                <c:pt idx="235">
                  <c:v>44603</c:v>
                </c:pt>
                <c:pt idx="236">
                  <c:v>44604</c:v>
                </c:pt>
                <c:pt idx="237">
                  <c:v>44605</c:v>
                </c:pt>
                <c:pt idx="238">
                  <c:v>44606</c:v>
                </c:pt>
                <c:pt idx="239">
                  <c:v>44607</c:v>
                </c:pt>
                <c:pt idx="240">
                  <c:v>44608</c:v>
                </c:pt>
                <c:pt idx="241">
                  <c:v>44609</c:v>
                </c:pt>
                <c:pt idx="242">
                  <c:v>44610</c:v>
                </c:pt>
                <c:pt idx="243">
                  <c:v>44611</c:v>
                </c:pt>
                <c:pt idx="244">
                  <c:v>44612</c:v>
                </c:pt>
                <c:pt idx="245">
                  <c:v>44613</c:v>
                </c:pt>
                <c:pt idx="246">
                  <c:v>44614</c:v>
                </c:pt>
                <c:pt idx="247">
                  <c:v>44615</c:v>
                </c:pt>
                <c:pt idx="248">
                  <c:v>44616</c:v>
                </c:pt>
                <c:pt idx="249">
                  <c:v>44617</c:v>
                </c:pt>
                <c:pt idx="250">
                  <c:v>44618</c:v>
                </c:pt>
                <c:pt idx="251">
                  <c:v>44619</c:v>
                </c:pt>
                <c:pt idx="252">
                  <c:v>44620</c:v>
                </c:pt>
                <c:pt idx="253">
                  <c:v>44621</c:v>
                </c:pt>
                <c:pt idx="254">
                  <c:v>44622</c:v>
                </c:pt>
                <c:pt idx="255">
                  <c:v>44623</c:v>
                </c:pt>
                <c:pt idx="256">
                  <c:v>44624</c:v>
                </c:pt>
              </c:numCache>
            </c:numRef>
          </c:cat>
          <c:val>
            <c:numRef>
              <c:f>Sheet1!$B$135:$B$391</c:f>
              <c:numCache>
                <c:formatCode>General</c:formatCode>
                <c:ptCount val="257"/>
                <c:pt idx="0">
                  <c:v>4</c:v>
                </c:pt>
                <c:pt idx="1">
                  <c:v>4</c:v>
                </c:pt>
                <c:pt idx="2">
                  <c:v>2</c:v>
                </c:pt>
                <c:pt idx="3">
                  <c:v>1</c:v>
                </c:pt>
                <c:pt idx="4">
                  <c:v>1</c:v>
                </c:pt>
                <c:pt idx="5">
                  <c:v>6</c:v>
                </c:pt>
                <c:pt idx="6">
                  <c:v>3</c:v>
                </c:pt>
                <c:pt idx="7">
                  <c:v>1</c:v>
                </c:pt>
                <c:pt idx="8">
                  <c:v>3</c:v>
                </c:pt>
                <c:pt idx="9">
                  <c:v>1</c:v>
                </c:pt>
                <c:pt idx="10">
                  <c:v>3</c:v>
                </c:pt>
                <c:pt idx="11">
                  <c:v>2</c:v>
                </c:pt>
                <c:pt idx="12">
                  <c:v>4</c:v>
                </c:pt>
                <c:pt idx="13">
                  <c:v>2</c:v>
                </c:pt>
                <c:pt idx="14">
                  <c:v>4</c:v>
                </c:pt>
                <c:pt idx="15">
                  <c:v>1</c:v>
                </c:pt>
                <c:pt idx="16">
                  <c:v>1</c:v>
                </c:pt>
                <c:pt idx="17">
                  <c:v>6</c:v>
                </c:pt>
                <c:pt idx="18">
                  <c:v>6</c:v>
                </c:pt>
                <c:pt idx="19">
                  <c:v>1</c:v>
                </c:pt>
                <c:pt idx="20">
                  <c:v>1</c:v>
                </c:pt>
                <c:pt idx="21">
                  <c:v>7</c:v>
                </c:pt>
                <c:pt idx="22">
                  <c:v>4</c:v>
                </c:pt>
                <c:pt idx="23">
                  <c:v>7</c:v>
                </c:pt>
                <c:pt idx="24">
                  <c:v>5</c:v>
                </c:pt>
                <c:pt idx="25">
                  <c:v>8</c:v>
                </c:pt>
                <c:pt idx="26">
                  <c:v>3</c:v>
                </c:pt>
                <c:pt idx="27">
                  <c:v>4</c:v>
                </c:pt>
                <c:pt idx="28">
                  <c:v>11</c:v>
                </c:pt>
                <c:pt idx="29">
                  <c:v>8</c:v>
                </c:pt>
                <c:pt idx="30">
                  <c:v>7</c:v>
                </c:pt>
                <c:pt idx="31">
                  <c:v>7</c:v>
                </c:pt>
                <c:pt idx="32">
                  <c:v>6</c:v>
                </c:pt>
                <c:pt idx="33">
                  <c:v>1</c:v>
                </c:pt>
                <c:pt idx="34">
                  <c:v>4</c:v>
                </c:pt>
                <c:pt idx="35">
                  <c:v>9</c:v>
                </c:pt>
                <c:pt idx="36">
                  <c:v>4</c:v>
                </c:pt>
                <c:pt idx="37">
                  <c:v>2</c:v>
                </c:pt>
                <c:pt idx="38">
                  <c:v>8</c:v>
                </c:pt>
                <c:pt idx="39">
                  <c:v>5</c:v>
                </c:pt>
                <c:pt idx="40">
                  <c:v>2</c:v>
                </c:pt>
                <c:pt idx="41">
                  <c:v>1</c:v>
                </c:pt>
                <c:pt idx="42">
                  <c:v>2</c:v>
                </c:pt>
                <c:pt idx="43">
                  <c:v>6</c:v>
                </c:pt>
                <c:pt idx="44">
                  <c:v>11</c:v>
                </c:pt>
                <c:pt idx="45">
                  <c:v>3</c:v>
                </c:pt>
                <c:pt idx="46">
                  <c:v>7</c:v>
                </c:pt>
                <c:pt idx="47">
                  <c:v>1</c:v>
                </c:pt>
                <c:pt idx="48">
                  <c:v>3</c:v>
                </c:pt>
                <c:pt idx="49">
                  <c:v>12</c:v>
                </c:pt>
                <c:pt idx="50">
                  <c:v>3</c:v>
                </c:pt>
                <c:pt idx="51">
                  <c:v>7</c:v>
                </c:pt>
                <c:pt idx="52">
                  <c:v>4</c:v>
                </c:pt>
                <c:pt idx="53">
                  <c:v>10</c:v>
                </c:pt>
                <c:pt idx="54">
                  <c:v>5</c:v>
                </c:pt>
                <c:pt idx="55">
                  <c:v>2</c:v>
                </c:pt>
                <c:pt idx="56">
                  <c:v>7</c:v>
                </c:pt>
                <c:pt idx="57">
                  <c:v>4</c:v>
                </c:pt>
                <c:pt idx="58">
                  <c:v>3</c:v>
                </c:pt>
                <c:pt idx="59">
                  <c:v>3</c:v>
                </c:pt>
                <c:pt idx="60">
                  <c:v>4</c:v>
                </c:pt>
                <c:pt idx="61">
                  <c:v>2</c:v>
                </c:pt>
                <c:pt idx="62">
                  <c:v>3</c:v>
                </c:pt>
                <c:pt idx="63">
                  <c:v>8</c:v>
                </c:pt>
                <c:pt idx="64">
                  <c:v>5</c:v>
                </c:pt>
                <c:pt idx="65">
                  <c:v>6</c:v>
                </c:pt>
                <c:pt idx="66">
                  <c:v>5</c:v>
                </c:pt>
                <c:pt idx="67">
                  <c:v>4</c:v>
                </c:pt>
                <c:pt idx="68">
                  <c:v>3</c:v>
                </c:pt>
                <c:pt idx="69">
                  <c:v>2</c:v>
                </c:pt>
                <c:pt idx="70">
                  <c:v>1</c:v>
                </c:pt>
                <c:pt idx="71">
                  <c:v>7</c:v>
                </c:pt>
                <c:pt idx="72">
                  <c:v>7</c:v>
                </c:pt>
                <c:pt idx="73">
                  <c:v>12</c:v>
                </c:pt>
                <c:pt idx="74">
                  <c:v>13</c:v>
                </c:pt>
                <c:pt idx="75">
                  <c:v>9</c:v>
                </c:pt>
                <c:pt idx="76">
                  <c:v>3</c:v>
                </c:pt>
                <c:pt idx="77">
                  <c:v>7</c:v>
                </c:pt>
                <c:pt idx="78">
                  <c:v>12</c:v>
                </c:pt>
                <c:pt idx="79">
                  <c:v>2</c:v>
                </c:pt>
                <c:pt idx="80">
                  <c:v>7</c:v>
                </c:pt>
                <c:pt idx="81">
                  <c:v>5</c:v>
                </c:pt>
                <c:pt idx="82">
                  <c:v>4</c:v>
                </c:pt>
                <c:pt idx="83">
                  <c:v>5</c:v>
                </c:pt>
                <c:pt idx="84">
                  <c:v>9</c:v>
                </c:pt>
                <c:pt idx="85">
                  <c:v>10</c:v>
                </c:pt>
                <c:pt idx="86">
                  <c:v>8</c:v>
                </c:pt>
                <c:pt idx="87">
                  <c:v>17</c:v>
                </c:pt>
                <c:pt idx="88">
                  <c:v>11</c:v>
                </c:pt>
                <c:pt idx="89">
                  <c:v>5</c:v>
                </c:pt>
                <c:pt idx="90">
                  <c:v>9</c:v>
                </c:pt>
                <c:pt idx="91">
                  <c:v>17</c:v>
                </c:pt>
                <c:pt idx="92">
                  <c:v>19</c:v>
                </c:pt>
                <c:pt idx="93">
                  <c:v>16</c:v>
                </c:pt>
                <c:pt idx="94">
                  <c:v>14</c:v>
                </c:pt>
                <c:pt idx="95">
                  <c:v>15</c:v>
                </c:pt>
                <c:pt idx="96">
                  <c:v>10</c:v>
                </c:pt>
                <c:pt idx="97">
                  <c:v>10</c:v>
                </c:pt>
                <c:pt idx="98">
                  <c:v>18</c:v>
                </c:pt>
                <c:pt idx="99">
                  <c:v>19</c:v>
                </c:pt>
                <c:pt idx="100">
                  <c:v>24</c:v>
                </c:pt>
                <c:pt idx="101">
                  <c:v>37</c:v>
                </c:pt>
                <c:pt idx="102">
                  <c:v>21</c:v>
                </c:pt>
                <c:pt idx="103">
                  <c:v>14</c:v>
                </c:pt>
                <c:pt idx="104">
                  <c:v>15</c:v>
                </c:pt>
                <c:pt idx="105">
                  <c:v>20</c:v>
                </c:pt>
                <c:pt idx="106">
                  <c:v>29</c:v>
                </c:pt>
                <c:pt idx="107">
                  <c:v>26</c:v>
                </c:pt>
                <c:pt idx="108">
                  <c:v>29</c:v>
                </c:pt>
                <c:pt idx="109">
                  <c:v>26</c:v>
                </c:pt>
                <c:pt idx="110">
                  <c:v>14</c:v>
                </c:pt>
                <c:pt idx="111">
                  <c:v>10</c:v>
                </c:pt>
                <c:pt idx="112">
                  <c:v>40</c:v>
                </c:pt>
                <c:pt idx="113">
                  <c:v>60</c:v>
                </c:pt>
                <c:pt idx="114">
                  <c:v>48</c:v>
                </c:pt>
                <c:pt idx="115">
                  <c:v>47</c:v>
                </c:pt>
                <c:pt idx="116">
                  <c:v>37</c:v>
                </c:pt>
                <c:pt idx="117">
                  <c:v>24</c:v>
                </c:pt>
                <c:pt idx="118">
                  <c:v>30</c:v>
                </c:pt>
                <c:pt idx="119">
                  <c:v>91</c:v>
                </c:pt>
                <c:pt idx="120">
                  <c:v>101</c:v>
                </c:pt>
                <c:pt idx="121">
                  <c:v>88</c:v>
                </c:pt>
                <c:pt idx="122">
                  <c:v>120</c:v>
                </c:pt>
                <c:pt idx="123">
                  <c:v>106</c:v>
                </c:pt>
                <c:pt idx="124">
                  <c:v>77</c:v>
                </c:pt>
                <c:pt idx="125">
                  <c:v>46</c:v>
                </c:pt>
                <c:pt idx="126">
                  <c:v>174</c:v>
                </c:pt>
                <c:pt idx="127">
                  <c:v>176</c:v>
                </c:pt>
                <c:pt idx="128">
                  <c:v>164</c:v>
                </c:pt>
                <c:pt idx="129">
                  <c:v>98</c:v>
                </c:pt>
                <c:pt idx="130">
                  <c:v>202</c:v>
                </c:pt>
                <c:pt idx="131">
                  <c:v>139</c:v>
                </c:pt>
                <c:pt idx="132">
                  <c:v>97</c:v>
                </c:pt>
                <c:pt idx="133">
                  <c:v>303</c:v>
                </c:pt>
                <c:pt idx="134">
                  <c:v>270</c:v>
                </c:pt>
                <c:pt idx="135">
                  <c:v>263</c:v>
                </c:pt>
                <c:pt idx="136">
                  <c:v>244</c:v>
                </c:pt>
                <c:pt idx="137">
                  <c:v>283</c:v>
                </c:pt>
                <c:pt idx="138">
                  <c:v>160</c:v>
                </c:pt>
                <c:pt idx="139">
                  <c:v>86</c:v>
                </c:pt>
                <c:pt idx="140">
                  <c:v>317</c:v>
                </c:pt>
                <c:pt idx="141">
                  <c:v>339</c:v>
                </c:pt>
                <c:pt idx="142">
                  <c:v>363</c:v>
                </c:pt>
                <c:pt idx="143">
                  <c:v>267</c:v>
                </c:pt>
                <c:pt idx="144">
                  <c:v>377</c:v>
                </c:pt>
                <c:pt idx="145">
                  <c:v>240</c:v>
                </c:pt>
                <c:pt idx="146">
                  <c:v>130</c:v>
                </c:pt>
                <c:pt idx="147">
                  <c:v>388</c:v>
                </c:pt>
                <c:pt idx="148">
                  <c:v>486</c:v>
                </c:pt>
                <c:pt idx="149">
                  <c:v>308</c:v>
                </c:pt>
                <c:pt idx="150">
                  <c:v>390</c:v>
                </c:pt>
                <c:pt idx="151">
                  <c:v>577</c:v>
                </c:pt>
                <c:pt idx="152">
                  <c:v>330</c:v>
                </c:pt>
                <c:pt idx="153">
                  <c:v>205</c:v>
                </c:pt>
                <c:pt idx="154">
                  <c:v>457</c:v>
                </c:pt>
                <c:pt idx="155">
                  <c:v>546</c:v>
                </c:pt>
                <c:pt idx="156">
                  <c:v>367</c:v>
                </c:pt>
                <c:pt idx="157">
                  <c:v>550</c:v>
                </c:pt>
                <c:pt idx="158">
                  <c:v>396</c:v>
                </c:pt>
                <c:pt idx="159">
                  <c:v>260</c:v>
                </c:pt>
                <c:pt idx="160">
                  <c:v>203</c:v>
                </c:pt>
                <c:pt idx="161">
                  <c:v>477</c:v>
                </c:pt>
                <c:pt idx="162">
                  <c:v>416</c:v>
                </c:pt>
                <c:pt idx="163">
                  <c:v>407</c:v>
                </c:pt>
                <c:pt idx="164">
                  <c:v>329</c:v>
                </c:pt>
                <c:pt idx="165">
                  <c:v>358</c:v>
                </c:pt>
                <c:pt idx="166">
                  <c:v>210</c:v>
                </c:pt>
                <c:pt idx="167">
                  <c:v>149</c:v>
                </c:pt>
                <c:pt idx="168">
                  <c:v>413</c:v>
                </c:pt>
                <c:pt idx="169">
                  <c:v>365</c:v>
                </c:pt>
                <c:pt idx="170">
                  <c:v>291</c:v>
                </c:pt>
                <c:pt idx="171">
                  <c:v>275</c:v>
                </c:pt>
                <c:pt idx="172">
                  <c:v>246</c:v>
                </c:pt>
                <c:pt idx="173">
                  <c:v>173</c:v>
                </c:pt>
                <c:pt idx="174">
                  <c:v>134</c:v>
                </c:pt>
                <c:pt idx="175">
                  <c:v>255</c:v>
                </c:pt>
                <c:pt idx="176">
                  <c:v>325</c:v>
                </c:pt>
                <c:pt idx="177">
                  <c:v>209</c:v>
                </c:pt>
                <c:pt idx="178">
                  <c:v>173</c:v>
                </c:pt>
                <c:pt idx="179">
                  <c:v>203</c:v>
                </c:pt>
                <c:pt idx="180">
                  <c:v>130</c:v>
                </c:pt>
                <c:pt idx="181">
                  <c:v>92</c:v>
                </c:pt>
                <c:pt idx="182">
                  <c:v>224</c:v>
                </c:pt>
                <c:pt idx="183">
                  <c:v>213</c:v>
                </c:pt>
                <c:pt idx="184">
                  <c:v>119</c:v>
                </c:pt>
                <c:pt idx="185">
                  <c:v>162</c:v>
                </c:pt>
                <c:pt idx="186">
                  <c:v>48</c:v>
                </c:pt>
                <c:pt idx="187">
                  <c:v>44</c:v>
                </c:pt>
                <c:pt idx="188">
                  <c:v>49</c:v>
                </c:pt>
                <c:pt idx="189">
                  <c:v>172</c:v>
                </c:pt>
                <c:pt idx="190">
                  <c:v>221</c:v>
                </c:pt>
                <c:pt idx="191">
                  <c:v>150</c:v>
                </c:pt>
                <c:pt idx="192">
                  <c:v>139</c:v>
                </c:pt>
                <c:pt idx="193">
                  <c:v>151</c:v>
                </c:pt>
                <c:pt idx="194">
                  <c:v>33</c:v>
                </c:pt>
                <c:pt idx="195">
                  <c:v>90</c:v>
                </c:pt>
                <c:pt idx="196">
                  <c:v>242</c:v>
                </c:pt>
                <c:pt idx="197">
                  <c:v>209</c:v>
                </c:pt>
                <c:pt idx="198">
                  <c:v>163</c:v>
                </c:pt>
                <c:pt idx="199">
                  <c:v>163</c:v>
                </c:pt>
                <c:pt idx="200">
                  <c:v>164</c:v>
                </c:pt>
                <c:pt idx="201">
                  <c:v>90</c:v>
                </c:pt>
                <c:pt idx="202">
                  <c:v>75</c:v>
                </c:pt>
                <c:pt idx="203">
                  <c:v>193</c:v>
                </c:pt>
                <c:pt idx="204">
                  <c:v>274</c:v>
                </c:pt>
                <c:pt idx="205">
                  <c:v>310</c:v>
                </c:pt>
                <c:pt idx="206">
                  <c:v>239</c:v>
                </c:pt>
                <c:pt idx="207">
                  <c:v>283</c:v>
                </c:pt>
                <c:pt idx="208">
                  <c:v>212</c:v>
                </c:pt>
                <c:pt idx="209">
                  <c:v>187</c:v>
                </c:pt>
                <c:pt idx="210">
                  <c:v>583</c:v>
                </c:pt>
                <c:pt idx="211">
                  <c:v>626</c:v>
                </c:pt>
                <c:pt idx="212">
                  <c:v>741</c:v>
                </c:pt>
                <c:pt idx="213">
                  <c:v>713</c:v>
                </c:pt>
                <c:pt idx="214">
                  <c:v>680</c:v>
                </c:pt>
                <c:pt idx="215">
                  <c:v>414</c:v>
                </c:pt>
                <c:pt idx="216">
                  <c:v>443</c:v>
                </c:pt>
                <c:pt idx="217">
                  <c:v>989</c:v>
                </c:pt>
                <c:pt idx="218">
                  <c:v>914</c:v>
                </c:pt>
                <c:pt idx="219">
                  <c:v>1076</c:v>
                </c:pt>
                <c:pt idx="220">
                  <c:v>1661</c:v>
                </c:pt>
                <c:pt idx="221">
                  <c:v>1343</c:v>
                </c:pt>
                <c:pt idx="222">
                  <c:v>512</c:v>
                </c:pt>
                <c:pt idx="223">
                  <c:v>687</c:v>
                </c:pt>
                <c:pt idx="224">
                  <c:v>1364</c:v>
                </c:pt>
                <c:pt idx="225">
                  <c:v>1606</c:v>
                </c:pt>
                <c:pt idx="226">
                  <c:v>1262</c:v>
                </c:pt>
                <c:pt idx="227">
                  <c:v>1176</c:v>
                </c:pt>
                <c:pt idx="228">
                  <c:v>968</c:v>
                </c:pt>
                <c:pt idx="229">
                  <c:v>699</c:v>
                </c:pt>
                <c:pt idx="230">
                  <c:v>387</c:v>
                </c:pt>
                <c:pt idx="231">
                  <c:v>1360</c:v>
                </c:pt>
                <c:pt idx="232">
                  <c:v>1168</c:v>
                </c:pt>
                <c:pt idx="233">
                  <c:v>960</c:v>
                </c:pt>
                <c:pt idx="234">
                  <c:v>844</c:v>
                </c:pt>
                <c:pt idx="235">
                  <c:v>772</c:v>
                </c:pt>
                <c:pt idx="236">
                  <c:v>411</c:v>
                </c:pt>
                <c:pt idx="237">
                  <c:v>321</c:v>
                </c:pt>
                <c:pt idx="238">
                  <c:v>902</c:v>
                </c:pt>
                <c:pt idx="239">
                  <c:v>890</c:v>
                </c:pt>
                <c:pt idx="240">
                  <c:v>655</c:v>
                </c:pt>
                <c:pt idx="241">
                  <c:v>581</c:v>
                </c:pt>
                <c:pt idx="242">
                  <c:v>511</c:v>
                </c:pt>
                <c:pt idx="243">
                  <c:v>283</c:v>
                </c:pt>
                <c:pt idx="244">
                  <c:v>206</c:v>
                </c:pt>
                <c:pt idx="245">
                  <c:v>647</c:v>
                </c:pt>
                <c:pt idx="246">
                  <c:v>518</c:v>
                </c:pt>
                <c:pt idx="247">
                  <c:v>398</c:v>
                </c:pt>
                <c:pt idx="248">
                  <c:v>395</c:v>
                </c:pt>
                <c:pt idx="249">
                  <c:v>341</c:v>
                </c:pt>
                <c:pt idx="250">
                  <c:v>217</c:v>
                </c:pt>
                <c:pt idx="251">
                  <c:v>162</c:v>
                </c:pt>
                <c:pt idx="252">
                  <c:v>530</c:v>
                </c:pt>
                <c:pt idx="253">
                  <c:v>451</c:v>
                </c:pt>
                <c:pt idx="254">
                  <c:v>368</c:v>
                </c:pt>
                <c:pt idx="255">
                  <c:v>324</c:v>
                </c:pt>
                <c:pt idx="256">
                  <c:v>32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59F-460A-A36A-554DEDA2A40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dateAx>
        <c:axId val="417147840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1"/>
        <c:majorTimeUnit val="days"/>
      </c:dateAx>
      <c:valAx>
        <c:axId val="419321824"/>
        <c:scaling>
          <c:orientation val="minMax"/>
          <c:min val="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527928087982371"/>
          <c:y val="2.4852292975710399E-2"/>
          <c:w val="0.85679636904293355"/>
          <c:h val="0.80623174724366597"/>
        </c:manualLayout>
      </c:layout>
      <c:lineChart>
        <c:grouping val="standar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Bez očkování</c:v>
                </c:pt>
              </c:strCache>
            </c:strRef>
          </c:tx>
          <c:spPr>
            <a:ln w="28575" cap="rnd">
              <a:solidFill>
                <a:schemeClr val="bg1"/>
              </a:solidFill>
              <a:round/>
            </a:ln>
            <a:effectLst/>
          </c:spPr>
          <c:marker>
            <c:symbol val="none"/>
          </c:marker>
          <c:trendline>
            <c:spPr>
              <a:ln w="28575" cap="rnd" cmpd="sng">
                <a:solidFill>
                  <a:srgbClr val="C00000"/>
                </a:solidFill>
                <a:prstDash val="solid"/>
              </a:ln>
              <a:effectLst/>
            </c:spPr>
            <c:trendlineType val="movingAvg"/>
            <c:period val="7"/>
            <c:dispRSqr val="0"/>
            <c:dispEq val="0"/>
          </c:trendline>
          <c:cat>
            <c:numRef>
              <c:f>List1!$A$2:$A$398</c:f>
              <c:numCache>
                <c:formatCode>m/d/yyyy</c:formatCode>
                <c:ptCount val="397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  <c:pt idx="96">
                  <c:v>44324</c:v>
                </c:pt>
                <c:pt idx="97">
                  <c:v>44325</c:v>
                </c:pt>
                <c:pt idx="98">
                  <c:v>44326</c:v>
                </c:pt>
                <c:pt idx="99">
                  <c:v>44327</c:v>
                </c:pt>
                <c:pt idx="100">
                  <c:v>44328</c:v>
                </c:pt>
                <c:pt idx="101">
                  <c:v>44329</c:v>
                </c:pt>
                <c:pt idx="102">
                  <c:v>44330</c:v>
                </c:pt>
                <c:pt idx="103">
                  <c:v>44331</c:v>
                </c:pt>
                <c:pt idx="104">
                  <c:v>44332</c:v>
                </c:pt>
                <c:pt idx="105">
                  <c:v>44333</c:v>
                </c:pt>
                <c:pt idx="106">
                  <c:v>44334</c:v>
                </c:pt>
                <c:pt idx="107">
                  <c:v>44335</c:v>
                </c:pt>
                <c:pt idx="108">
                  <c:v>44336</c:v>
                </c:pt>
                <c:pt idx="109">
                  <c:v>44337</c:v>
                </c:pt>
                <c:pt idx="110">
                  <c:v>44338</c:v>
                </c:pt>
                <c:pt idx="111">
                  <c:v>44339</c:v>
                </c:pt>
                <c:pt idx="112">
                  <c:v>44340</c:v>
                </c:pt>
                <c:pt idx="113">
                  <c:v>44341</c:v>
                </c:pt>
                <c:pt idx="114">
                  <c:v>44342</c:v>
                </c:pt>
                <c:pt idx="115">
                  <c:v>44343</c:v>
                </c:pt>
                <c:pt idx="116">
                  <c:v>44344</c:v>
                </c:pt>
                <c:pt idx="117">
                  <c:v>44345</c:v>
                </c:pt>
                <c:pt idx="118">
                  <c:v>44346</c:v>
                </c:pt>
                <c:pt idx="119">
                  <c:v>44347</c:v>
                </c:pt>
                <c:pt idx="120">
                  <c:v>44348</c:v>
                </c:pt>
                <c:pt idx="121">
                  <c:v>44349</c:v>
                </c:pt>
                <c:pt idx="122">
                  <c:v>44350</c:v>
                </c:pt>
                <c:pt idx="123">
                  <c:v>44351</c:v>
                </c:pt>
                <c:pt idx="124">
                  <c:v>44352</c:v>
                </c:pt>
                <c:pt idx="125">
                  <c:v>44353</c:v>
                </c:pt>
                <c:pt idx="126">
                  <c:v>44354</c:v>
                </c:pt>
                <c:pt idx="127">
                  <c:v>44355</c:v>
                </c:pt>
                <c:pt idx="128">
                  <c:v>44356</c:v>
                </c:pt>
                <c:pt idx="129">
                  <c:v>44357</c:v>
                </c:pt>
                <c:pt idx="130">
                  <c:v>44358</c:v>
                </c:pt>
                <c:pt idx="131">
                  <c:v>44359</c:v>
                </c:pt>
                <c:pt idx="132">
                  <c:v>44360</c:v>
                </c:pt>
                <c:pt idx="133">
                  <c:v>44361</c:v>
                </c:pt>
                <c:pt idx="134">
                  <c:v>44362</c:v>
                </c:pt>
                <c:pt idx="135">
                  <c:v>44363</c:v>
                </c:pt>
                <c:pt idx="136">
                  <c:v>44364</c:v>
                </c:pt>
                <c:pt idx="137">
                  <c:v>44365</c:v>
                </c:pt>
                <c:pt idx="138">
                  <c:v>44366</c:v>
                </c:pt>
                <c:pt idx="139">
                  <c:v>44367</c:v>
                </c:pt>
                <c:pt idx="140">
                  <c:v>44368</c:v>
                </c:pt>
                <c:pt idx="141">
                  <c:v>44369</c:v>
                </c:pt>
                <c:pt idx="142">
                  <c:v>44370</c:v>
                </c:pt>
                <c:pt idx="143">
                  <c:v>44371</c:v>
                </c:pt>
                <c:pt idx="144">
                  <c:v>44372</c:v>
                </c:pt>
                <c:pt idx="145">
                  <c:v>44373</c:v>
                </c:pt>
                <c:pt idx="146">
                  <c:v>44374</c:v>
                </c:pt>
                <c:pt idx="147">
                  <c:v>44375</c:v>
                </c:pt>
                <c:pt idx="148">
                  <c:v>44376</c:v>
                </c:pt>
                <c:pt idx="149">
                  <c:v>44377</c:v>
                </c:pt>
                <c:pt idx="150">
                  <c:v>44378</c:v>
                </c:pt>
                <c:pt idx="151">
                  <c:v>44379</c:v>
                </c:pt>
                <c:pt idx="152">
                  <c:v>44380</c:v>
                </c:pt>
                <c:pt idx="153">
                  <c:v>44381</c:v>
                </c:pt>
                <c:pt idx="154">
                  <c:v>44382</c:v>
                </c:pt>
                <c:pt idx="155">
                  <c:v>44383</c:v>
                </c:pt>
                <c:pt idx="156">
                  <c:v>44384</c:v>
                </c:pt>
                <c:pt idx="157">
                  <c:v>44385</c:v>
                </c:pt>
                <c:pt idx="158">
                  <c:v>44386</c:v>
                </c:pt>
                <c:pt idx="159">
                  <c:v>44387</c:v>
                </c:pt>
                <c:pt idx="160">
                  <c:v>44388</c:v>
                </c:pt>
                <c:pt idx="161">
                  <c:v>44389</c:v>
                </c:pt>
                <c:pt idx="162">
                  <c:v>44390</c:v>
                </c:pt>
                <c:pt idx="163">
                  <c:v>44391</c:v>
                </c:pt>
                <c:pt idx="164">
                  <c:v>44392</c:v>
                </c:pt>
                <c:pt idx="165">
                  <c:v>44393</c:v>
                </c:pt>
                <c:pt idx="166">
                  <c:v>44394</c:v>
                </c:pt>
                <c:pt idx="167">
                  <c:v>44395</c:v>
                </c:pt>
                <c:pt idx="168">
                  <c:v>44396</c:v>
                </c:pt>
                <c:pt idx="169">
                  <c:v>44397</c:v>
                </c:pt>
                <c:pt idx="170">
                  <c:v>44398</c:v>
                </c:pt>
                <c:pt idx="171">
                  <c:v>44399</c:v>
                </c:pt>
                <c:pt idx="172">
                  <c:v>44400</c:v>
                </c:pt>
                <c:pt idx="173">
                  <c:v>44401</c:v>
                </c:pt>
                <c:pt idx="174">
                  <c:v>44402</c:v>
                </c:pt>
                <c:pt idx="175">
                  <c:v>44403</c:v>
                </c:pt>
                <c:pt idx="176">
                  <c:v>44404</c:v>
                </c:pt>
                <c:pt idx="177">
                  <c:v>44405</c:v>
                </c:pt>
                <c:pt idx="178">
                  <c:v>44406</c:v>
                </c:pt>
                <c:pt idx="179">
                  <c:v>44407</c:v>
                </c:pt>
                <c:pt idx="180">
                  <c:v>44408</c:v>
                </c:pt>
                <c:pt idx="181">
                  <c:v>44409</c:v>
                </c:pt>
                <c:pt idx="182">
                  <c:v>44410</c:v>
                </c:pt>
                <c:pt idx="183">
                  <c:v>44411</c:v>
                </c:pt>
                <c:pt idx="184">
                  <c:v>44412</c:v>
                </c:pt>
                <c:pt idx="185">
                  <c:v>44413</c:v>
                </c:pt>
                <c:pt idx="186">
                  <c:v>44414</c:v>
                </c:pt>
                <c:pt idx="187">
                  <c:v>44415</c:v>
                </c:pt>
                <c:pt idx="188">
                  <c:v>44416</c:v>
                </c:pt>
                <c:pt idx="189">
                  <c:v>44417</c:v>
                </c:pt>
                <c:pt idx="190">
                  <c:v>44418</c:v>
                </c:pt>
                <c:pt idx="191">
                  <c:v>44419</c:v>
                </c:pt>
                <c:pt idx="192">
                  <c:v>44420</c:v>
                </c:pt>
                <c:pt idx="193">
                  <c:v>44421</c:v>
                </c:pt>
                <c:pt idx="194">
                  <c:v>44422</c:v>
                </c:pt>
                <c:pt idx="195">
                  <c:v>44423</c:v>
                </c:pt>
                <c:pt idx="196">
                  <c:v>44424</c:v>
                </c:pt>
                <c:pt idx="197">
                  <c:v>44425</c:v>
                </c:pt>
                <c:pt idx="198">
                  <c:v>44426</c:v>
                </c:pt>
                <c:pt idx="199">
                  <c:v>44427</c:v>
                </c:pt>
                <c:pt idx="200">
                  <c:v>44428</c:v>
                </c:pt>
                <c:pt idx="201">
                  <c:v>44429</c:v>
                </c:pt>
                <c:pt idx="202">
                  <c:v>44430</c:v>
                </c:pt>
                <c:pt idx="203">
                  <c:v>44431</c:v>
                </c:pt>
                <c:pt idx="204">
                  <c:v>44432</c:v>
                </c:pt>
                <c:pt idx="205">
                  <c:v>44433</c:v>
                </c:pt>
                <c:pt idx="206">
                  <c:v>44434</c:v>
                </c:pt>
                <c:pt idx="207">
                  <c:v>44435</c:v>
                </c:pt>
                <c:pt idx="208">
                  <c:v>44436</c:v>
                </c:pt>
                <c:pt idx="209">
                  <c:v>44437</c:v>
                </c:pt>
                <c:pt idx="210">
                  <c:v>44438</c:v>
                </c:pt>
                <c:pt idx="211">
                  <c:v>44439</c:v>
                </c:pt>
                <c:pt idx="212">
                  <c:v>44440</c:v>
                </c:pt>
                <c:pt idx="213">
                  <c:v>44441</c:v>
                </c:pt>
                <c:pt idx="214">
                  <c:v>44442</c:v>
                </c:pt>
                <c:pt idx="215">
                  <c:v>44443</c:v>
                </c:pt>
                <c:pt idx="216">
                  <c:v>44444</c:v>
                </c:pt>
                <c:pt idx="217">
                  <c:v>44445</c:v>
                </c:pt>
                <c:pt idx="218">
                  <c:v>44446</c:v>
                </c:pt>
                <c:pt idx="219">
                  <c:v>44447</c:v>
                </c:pt>
                <c:pt idx="220">
                  <c:v>44448</c:v>
                </c:pt>
                <c:pt idx="221">
                  <c:v>44449</c:v>
                </c:pt>
                <c:pt idx="222">
                  <c:v>44450</c:v>
                </c:pt>
                <c:pt idx="223">
                  <c:v>44451</c:v>
                </c:pt>
                <c:pt idx="224">
                  <c:v>44452</c:v>
                </c:pt>
                <c:pt idx="225">
                  <c:v>44453</c:v>
                </c:pt>
                <c:pt idx="226">
                  <c:v>44454</c:v>
                </c:pt>
                <c:pt idx="227">
                  <c:v>44455</c:v>
                </c:pt>
                <c:pt idx="228">
                  <c:v>44456</c:v>
                </c:pt>
                <c:pt idx="229">
                  <c:v>44457</c:v>
                </c:pt>
                <c:pt idx="230">
                  <c:v>44458</c:v>
                </c:pt>
                <c:pt idx="231">
                  <c:v>44459</c:v>
                </c:pt>
                <c:pt idx="232">
                  <c:v>44460</c:v>
                </c:pt>
                <c:pt idx="233">
                  <c:v>44461</c:v>
                </c:pt>
                <c:pt idx="234">
                  <c:v>44462</c:v>
                </c:pt>
                <c:pt idx="235">
                  <c:v>44463</c:v>
                </c:pt>
                <c:pt idx="236">
                  <c:v>44464</c:v>
                </c:pt>
                <c:pt idx="237">
                  <c:v>44465</c:v>
                </c:pt>
                <c:pt idx="238">
                  <c:v>44466</c:v>
                </c:pt>
                <c:pt idx="239">
                  <c:v>44467</c:v>
                </c:pt>
                <c:pt idx="240">
                  <c:v>44468</c:v>
                </c:pt>
                <c:pt idx="241">
                  <c:v>44469</c:v>
                </c:pt>
                <c:pt idx="242">
                  <c:v>44470</c:v>
                </c:pt>
                <c:pt idx="243">
                  <c:v>44471</c:v>
                </c:pt>
                <c:pt idx="244">
                  <c:v>44472</c:v>
                </c:pt>
                <c:pt idx="245">
                  <c:v>44473</c:v>
                </c:pt>
                <c:pt idx="246">
                  <c:v>44474</c:v>
                </c:pt>
                <c:pt idx="247">
                  <c:v>44475</c:v>
                </c:pt>
                <c:pt idx="248">
                  <c:v>44476</c:v>
                </c:pt>
                <c:pt idx="249">
                  <c:v>44477</c:v>
                </c:pt>
                <c:pt idx="250">
                  <c:v>44478</c:v>
                </c:pt>
                <c:pt idx="251">
                  <c:v>44479</c:v>
                </c:pt>
                <c:pt idx="252">
                  <c:v>44480</c:v>
                </c:pt>
                <c:pt idx="253">
                  <c:v>44481</c:v>
                </c:pt>
                <c:pt idx="254">
                  <c:v>44482</c:v>
                </c:pt>
                <c:pt idx="255">
                  <c:v>44483</c:v>
                </c:pt>
                <c:pt idx="256">
                  <c:v>44484</c:v>
                </c:pt>
                <c:pt idx="257">
                  <c:v>44485</c:v>
                </c:pt>
                <c:pt idx="258">
                  <c:v>44486</c:v>
                </c:pt>
                <c:pt idx="259">
                  <c:v>44487</c:v>
                </c:pt>
                <c:pt idx="260">
                  <c:v>44488</c:v>
                </c:pt>
                <c:pt idx="261">
                  <c:v>44489</c:v>
                </c:pt>
                <c:pt idx="262">
                  <c:v>44490</c:v>
                </c:pt>
                <c:pt idx="263">
                  <c:v>44491</c:v>
                </c:pt>
                <c:pt idx="264">
                  <c:v>44492</c:v>
                </c:pt>
                <c:pt idx="265">
                  <c:v>44493</c:v>
                </c:pt>
                <c:pt idx="266">
                  <c:v>44494</c:v>
                </c:pt>
                <c:pt idx="267">
                  <c:v>44495</c:v>
                </c:pt>
                <c:pt idx="268">
                  <c:v>44496</c:v>
                </c:pt>
                <c:pt idx="269">
                  <c:v>44497</c:v>
                </c:pt>
                <c:pt idx="270">
                  <c:v>44498</c:v>
                </c:pt>
                <c:pt idx="271">
                  <c:v>44499</c:v>
                </c:pt>
                <c:pt idx="272">
                  <c:v>44500</c:v>
                </c:pt>
                <c:pt idx="273">
                  <c:v>44501</c:v>
                </c:pt>
                <c:pt idx="274">
                  <c:v>44502</c:v>
                </c:pt>
                <c:pt idx="275">
                  <c:v>44503</c:v>
                </c:pt>
                <c:pt idx="276">
                  <c:v>44504</c:v>
                </c:pt>
                <c:pt idx="277">
                  <c:v>44505</c:v>
                </c:pt>
                <c:pt idx="278">
                  <c:v>44506</c:v>
                </c:pt>
                <c:pt idx="279">
                  <c:v>44507</c:v>
                </c:pt>
                <c:pt idx="280">
                  <c:v>44508</c:v>
                </c:pt>
                <c:pt idx="281">
                  <c:v>44509</c:v>
                </c:pt>
                <c:pt idx="282">
                  <c:v>44510</c:v>
                </c:pt>
                <c:pt idx="283">
                  <c:v>44511</c:v>
                </c:pt>
                <c:pt idx="284">
                  <c:v>44512</c:v>
                </c:pt>
                <c:pt idx="285">
                  <c:v>44513</c:v>
                </c:pt>
                <c:pt idx="286">
                  <c:v>44514</c:v>
                </c:pt>
                <c:pt idx="287">
                  <c:v>44515</c:v>
                </c:pt>
                <c:pt idx="288">
                  <c:v>44516</c:v>
                </c:pt>
                <c:pt idx="289">
                  <c:v>44517</c:v>
                </c:pt>
                <c:pt idx="290">
                  <c:v>44518</c:v>
                </c:pt>
                <c:pt idx="291">
                  <c:v>44519</c:v>
                </c:pt>
                <c:pt idx="292">
                  <c:v>44520</c:v>
                </c:pt>
                <c:pt idx="293">
                  <c:v>44521</c:v>
                </c:pt>
                <c:pt idx="294">
                  <c:v>44522</c:v>
                </c:pt>
                <c:pt idx="295">
                  <c:v>44523</c:v>
                </c:pt>
                <c:pt idx="296">
                  <c:v>44524</c:v>
                </c:pt>
                <c:pt idx="297">
                  <c:v>44525</c:v>
                </c:pt>
                <c:pt idx="298">
                  <c:v>44526</c:v>
                </c:pt>
                <c:pt idx="299">
                  <c:v>44527</c:v>
                </c:pt>
                <c:pt idx="300">
                  <c:v>44528</c:v>
                </c:pt>
                <c:pt idx="301">
                  <c:v>44529</c:v>
                </c:pt>
                <c:pt idx="302">
                  <c:v>44530</c:v>
                </c:pt>
                <c:pt idx="303">
                  <c:v>44531</c:v>
                </c:pt>
                <c:pt idx="304">
                  <c:v>44532</c:v>
                </c:pt>
                <c:pt idx="305">
                  <c:v>44533</c:v>
                </c:pt>
                <c:pt idx="306">
                  <c:v>44534</c:v>
                </c:pt>
                <c:pt idx="307">
                  <c:v>44535</c:v>
                </c:pt>
                <c:pt idx="308">
                  <c:v>44536</c:v>
                </c:pt>
                <c:pt idx="309">
                  <c:v>44537</c:v>
                </c:pt>
                <c:pt idx="310">
                  <c:v>44538</c:v>
                </c:pt>
                <c:pt idx="311">
                  <c:v>44539</c:v>
                </c:pt>
                <c:pt idx="312">
                  <c:v>44540</c:v>
                </c:pt>
                <c:pt idx="313">
                  <c:v>44541</c:v>
                </c:pt>
                <c:pt idx="314">
                  <c:v>44542</c:v>
                </c:pt>
                <c:pt idx="315">
                  <c:v>44543</c:v>
                </c:pt>
                <c:pt idx="316">
                  <c:v>44544</c:v>
                </c:pt>
                <c:pt idx="317">
                  <c:v>44545</c:v>
                </c:pt>
                <c:pt idx="318">
                  <c:v>44546</c:v>
                </c:pt>
                <c:pt idx="319">
                  <c:v>44547</c:v>
                </c:pt>
                <c:pt idx="320">
                  <c:v>44548</c:v>
                </c:pt>
                <c:pt idx="321">
                  <c:v>44549</c:v>
                </c:pt>
                <c:pt idx="322">
                  <c:v>44550</c:v>
                </c:pt>
                <c:pt idx="323">
                  <c:v>44551</c:v>
                </c:pt>
                <c:pt idx="324">
                  <c:v>44552</c:v>
                </c:pt>
                <c:pt idx="325">
                  <c:v>44553</c:v>
                </c:pt>
                <c:pt idx="326">
                  <c:v>44554</c:v>
                </c:pt>
                <c:pt idx="327">
                  <c:v>44555</c:v>
                </c:pt>
                <c:pt idx="328">
                  <c:v>44556</c:v>
                </c:pt>
                <c:pt idx="329">
                  <c:v>44557</c:v>
                </c:pt>
                <c:pt idx="330">
                  <c:v>44558</c:v>
                </c:pt>
                <c:pt idx="331">
                  <c:v>44559</c:v>
                </c:pt>
                <c:pt idx="332">
                  <c:v>44560</c:v>
                </c:pt>
                <c:pt idx="333">
                  <c:v>44561</c:v>
                </c:pt>
                <c:pt idx="334">
                  <c:v>44562</c:v>
                </c:pt>
                <c:pt idx="335">
                  <c:v>44563</c:v>
                </c:pt>
                <c:pt idx="336">
                  <c:v>44564</c:v>
                </c:pt>
                <c:pt idx="337">
                  <c:v>44565</c:v>
                </c:pt>
                <c:pt idx="338">
                  <c:v>44566</c:v>
                </c:pt>
                <c:pt idx="339">
                  <c:v>44567</c:v>
                </c:pt>
                <c:pt idx="340">
                  <c:v>44568</c:v>
                </c:pt>
                <c:pt idx="341">
                  <c:v>44569</c:v>
                </c:pt>
                <c:pt idx="342">
                  <c:v>44570</c:v>
                </c:pt>
                <c:pt idx="343">
                  <c:v>44571</c:v>
                </c:pt>
                <c:pt idx="344">
                  <c:v>44572</c:v>
                </c:pt>
                <c:pt idx="345">
                  <c:v>44573</c:v>
                </c:pt>
                <c:pt idx="346">
                  <c:v>44574</c:v>
                </c:pt>
                <c:pt idx="347">
                  <c:v>44575</c:v>
                </c:pt>
                <c:pt idx="348">
                  <c:v>44576</c:v>
                </c:pt>
                <c:pt idx="349">
                  <c:v>44577</c:v>
                </c:pt>
                <c:pt idx="350">
                  <c:v>44578</c:v>
                </c:pt>
                <c:pt idx="351">
                  <c:v>44579</c:v>
                </c:pt>
                <c:pt idx="352">
                  <c:v>44580</c:v>
                </c:pt>
                <c:pt idx="353">
                  <c:v>44581</c:v>
                </c:pt>
                <c:pt idx="354">
                  <c:v>44582</c:v>
                </c:pt>
                <c:pt idx="355">
                  <c:v>44583</c:v>
                </c:pt>
                <c:pt idx="356">
                  <c:v>44584</c:v>
                </c:pt>
                <c:pt idx="357">
                  <c:v>44585</c:v>
                </c:pt>
                <c:pt idx="358">
                  <c:v>44586</c:v>
                </c:pt>
                <c:pt idx="359">
                  <c:v>44587</c:v>
                </c:pt>
                <c:pt idx="360">
                  <c:v>44588</c:v>
                </c:pt>
                <c:pt idx="361">
                  <c:v>44589</c:v>
                </c:pt>
                <c:pt idx="362">
                  <c:v>44590</c:v>
                </c:pt>
                <c:pt idx="363">
                  <c:v>44591</c:v>
                </c:pt>
                <c:pt idx="364">
                  <c:v>44592</c:v>
                </c:pt>
                <c:pt idx="365">
                  <c:v>44593</c:v>
                </c:pt>
                <c:pt idx="366">
                  <c:v>44594</c:v>
                </c:pt>
                <c:pt idx="367">
                  <c:v>44595</c:v>
                </c:pt>
                <c:pt idx="368">
                  <c:v>44596</c:v>
                </c:pt>
                <c:pt idx="369">
                  <c:v>44597</c:v>
                </c:pt>
                <c:pt idx="370">
                  <c:v>44598</c:v>
                </c:pt>
                <c:pt idx="371">
                  <c:v>44599</c:v>
                </c:pt>
                <c:pt idx="372">
                  <c:v>44600</c:v>
                </c:pt>
                <c:pt idx="373">
                  <c:v>44601</c:v>
                </c:pt>
                <c:pt idx="374">
                  <c:v>44602</c:v>
                </c:pt>
                <c:pt idx="375">
                  <c:v>44603</c:v>
                </c:pt>
                <c:pt idx="376">
                  <c:v>44604</c:v>
                </c:pt>
                <c:pt idx="377">
                  <c:v>44605</c:v>
                </c:pt>
                <c:pt idx="378">
                  <c:v>44606</c:v>
                </c:pt>
                <c:pt idx="379">
                  <c:v>44607</c:v>
                </c:pt>
                <c:pt idx="380">
                  <c:v>44608</c:v>
                </c:pt>
                <c:pt idx="381">
                  <c:v>44609</c:v>
                </c:pt>
                <c:pt idx="382">
                  <c:v>44610</c:v>
                </c:pt>
                <c:pt idx="383">
                  <c:v>44611</c:v>
                </c:pt>
                <c:pt idx="384">
                  <c:v>44612</c:v>
                </c:pt>
                <c:pt idx="385">
                  <c:v>44613</c:v>
                </c:pt>
                <c:pt idx="386">
                  <c:v>44614</c:v>
                </c:pt>
                <c:pt idx="387">
                  <c:v>44615</c:v>
                </c:pt>
                <c:pt idx="388">
                  <c:v>44616</c:v>
                </c:pt>
                <c:pt idx="389">
                  <c:v>44617</c:v>
                </c:pt>
                <c:pt idx="390">
                  <c:v>44618</c:v>
                </c:pt>
                <c:pt idx="391">
                  <c:v>44619</c:v>
                </c:pt>
                <c:pt idx="392">
                  <c:v>44620</c:v>
                </c:pt>
                <c:pt idx="393">
                  <c:v>44621</c:v>
                </c:pt>
                <c:pt idx="394">
                  <c:v>44622</c:v>
                </c:pt>
                <c:pt idx="395">
                  <c:v>44623</c:v>
                </c:pt>
                <c:pt idx="396">
                  <c:v>44624</c:v>
                </c:pt>
              </c:numCache>
            </c:numRef>
          </c:cat>
          <c:val>
            <c:numRef>
              <c:f>List1!$B$2:$B$398</c:f>
              <c:numCache>
                <c:formatCode>General</c:formatCode>
                <c:ptCount val="397"/>
                <c:pt idx="0">
                  <c:v>18.539652196123999</c:v>
                </c:pt>
                <c:pt idx="1">
                  <c:v>26.588452302808999</c:v>
                </c:pt>
                <c:pt idx="2">
                  <c:v>22.616095959256999</c:v>
                </c:pt>
                <c:pt idx="3">
                  <c:v>21.901191930252999</c:v>
                </c:pt>
                <c:pt idx="4">
                  <c:v>19.438399290075001</c:v>
                </c:pt>
                <c:pt idx="5">
                  <c:v>11.446789387554</c:v>
                </c:pt>
                <c:pt idx="6">
                  <c:v>5.1036465554630004</c:v>
                </c:pt>
                <c:pt idx="7">
                  <c:v>23.648997282515001</c:v>
                </c:pt>
                <c:pt idx="8">
                  <c:v>30.116537907554999</c:v>
                </c:pt>
                <c:pt idx="9">
                  <c:v>27.971903776651001</c:v>
                </c:pt>
                <c:pt idx="10">
                  <c:v>22.662684077651001</c:v>
                </c:pt>
                <c:pt idx="11">
                  <c:v>26.970346568953001</c:v>
                </c:pt>
                <c:pt idx="12">
                  <c:v>11.192359349349999</c:v>
                </c:pt>
                <c:pt idx="13">
                  <c:v>7.4823696664729997</c:v>
                </c:pt>
                <c:pt idx="14">
                  <c:v>31.133250311331999</c:v>
                </c:pt>
                <c:pt idx="15">
                  <c:v>32.573289902280003</c:v>
                </c:pt>
                <c:pt idx="16">
                  <c:v>31.489984153426999</c:v>
                </c:pt>
                <c:pt idx="17">
                  <c:v>29.363339870171998</c:v>
                </c:pt>
                <c:pt idx="18">
                  <c:v>31.770648228919999</c:v>
                </c:pt>
                <c:pt idx="19">
                  <c:v>15.679065743943999</c:v>
                </c:pt>
                <c:pt idx="20">
                  <c:v>7.5954861111109997</c:v>
                </c:pt>
                <c:pt idx="21">
                  <c:v>40.583061853033001</c:v>
                </c:pt>
                <c:pt idx="22">
                  <c:v>46.545421519877998</c:v>
                </c:pt>
                <c:pt idx="23">
                  <c:v>38.212798971727999</c:v>
                </c:pt>
                <c:pt idx="24">
                  <c:v>47.778590472594999</c:v>
                </c:pt>
                <c:pt idx="25">
                  <c:v>58.218746436351999</c:v>
                </c:pt>
                <c:pt idx="26">
                  <c:v>20.452727130542002</c:v>
                </c:pt>
                <c:pt idx="27">
                  <c:v>9.6312437547399998</c:v>
                </c:pt>
                <c:pt idx="28">
                  <c:v>62.762016184068997</c:v>
                </c:pt>
                <c:pt idx="29">
                  <c:v>62.145050239043002</c:v>
                </c:pt>
                <c:pt idx="30">
                  <c:v>54.571274425295996</c:v>
                </c:pt>
                <c:pt idx="31">
                  <c:v>45.046735988587997</c:v>
                </c:pt>
                <c:pt idx="32">
                  <c:v>51.711851473472002</c:v>
                </c:pt>
                <c:pt idx="33">
                  <c:v>21.450562761823001</c:v>
                </c:pt>
                <c:pt idx="34">
                  <c:v>10.729884622181</c:v>
                </c:pt>
                <c:pt idx="35">
                  <c:v>49.508406908326002</c:v>
                </c:pt>
                <c:pt idx="36">
                  <c:v>53.676522272561002</c:v>
                </c:pt>
                <c:pt idx="37">
                  <c:v>48.177292436164997</c:v>
                </c:pt>
                <c:pt idx="38">
                  <c:v>46.505619429013997</c:v>
                </c:pt>
                <c:pt idx="39">
                  <c:v>54.610348661071001</c:v>
                </c:pt>
                <c:pt idx="40">
                  <c:v>22.106631989596</c:v>
                </c:pt>
                <c:pt idx="41">
                  <c:v>7.8032539568999999</c:v>
                </c:pt>
                <c:pt idx="42">
                  <c:v>36.542314042035997</c:v>
                </c:pt>
                <c:pt idx="43">
                  <c:v>53.061866205485998</c:v>
                </c:pt>
                <c:pt idx="44">
                  <c:v>33.555943020691998</c:v>
                </c:pt>
                <c:pt idx="45">
                  <c:v>35.668049354011004</c:v>
                </c:pt>
                <c:pt idx="46">
                  <c:v>29.896955161211</c:v>
                </c:pt>
                <c:pt idx="47">
                  <c:v>11.958940969338</c:v>
                </c:pt>
                <c:pt idx="48">
                  <c:v>5.979986976917</c:v>
                </c:pt>
                <c:pt idx="49">
                  <c:v>45.423271410726002</c:v>
                </c:pt>
                <c:pt idx="50">
                  <c:v>32.222766727307999</c:v>
                </c:pt>
                <c:pt idx="51">
                  <c:v>25.652969331200001</c:v>
                </c:pt>
                <c:pt idx="52">
                  <c:v>27.912613097142</c:v>
                </c:pt>
                <c:pt idx="53">
                  <c:v>23.369624986253001</c:v>
                </c:pt>
                <c:pt idx="54">
                  <c:v>11.008972312434</c:v>
                </c:pt>
                <c:pt idx="55">
                  <c:v>6.8902791941119998</c:v>
                </c:pt>
                <c:pt idx="56">
                  <c:v>31.300210754752001</c:v>
                </c:pt>
                <c:pt idx="57">
                  <c:v>33.002836839592</c:v>
                </c:pt>
                <c:pt idx="58">
                  <c:v>24.140526263472001</c:v>
                </c:pt>
                <c:pt idx="59">
                  <c:v>20.827647624929</c:v>
                </c:pt>
                <c:pt idx="60">
                  <c:v>16.771549618264</c:v>
                </c:pt>
                <c:pt idx="61">
                  <c:v>9.4925848308489993</c:v>
                </c:pt>
                <c:pt idx="62">
                  <c:v>14.616250347135001</c:v>
                </c:pt>
                <c:pt idx="63">
                  <c:v>8.1326058347749992</c:v>
                </c:pt>
                <c:pt idx="64">
                  <c:v>26.936430025140002</c:v>
                </c:pt>
                <c:pt idx="65">
                  <c:v>30.324855009286001</c:v>
                </c:pt>
                <c:pt idx="66">
                  <c:v>24.604028909733</c:v>
                </c:pt>
                <c:pt idx="67">
                  <c:v>25.042062839926</c:v>
                </c:pt>
                <c:pt idx="68">
                  <c:v>7.8449831332860001</c:v>
                </c:pt>
                <c:pt idx="69">
                  <c:v>3.9269585705869998</c:v>
                </c:pt>
                <c:pt idx="70">
                  <c:v>11.935453069797999</c:v>
                </c:pt>
                <c:pt idx="71">
                  <c:v>19.359990965337001</c:v>
                </c:pt>
                <c:pt idx="72">
                  <c:v>21.285304952926001</c:v>
                </c:pt>
                <c:pt idx="73">
                  <c:v>16.674170043185999</c:v>
                </c:pt>
                <c:pt idx="74">
                  <c:v>15.933314884231001</c:v>
                </c:pt>
                <c:pt idx="75">
                  <c:v>3.3669183438119998</c:v>
                </c:pt>
                <c:pt idx="76">
                  <c:v>3.375669859487</c:v>
                </c:pt>
                <c:pt idx="77">
                  <c:v>21.141649048624998</c:v>
                </c:pt>
                <c:pt idx="78">
                  <c:v>17.221188950885001</c:v>
                </c:pt>
                <c:pt idx="79">
                  <c:v>20.0673565184</c:v>
                </c:pt>
                <c:pt idx="80">
                  <c:v>13.291862721640999</c:v>
                </c:pt>
                <c:pt idx="81">
                  <c:v>10.819290795488</c:v>
                </c:pt>
                <c:pt idx="82">
                  <c:v>4.5362994683449998</c:v>
                </c:pt>
                <c:pt idx="83">
                  <c:v>0.90992638695500005</c:v>
                </c:pt>
                <c:pt idx="84">
                  <c:v>11.027790030877</c:v>
                </c:pt>
                <c:pt idx="85">
                  <c:v>14.872238178893999</c:v>
                </c:pt>
                <c:pt idx="86">
                  <c:v>7.5253746225549998</c:v>
                </c:pt>
                <c:pt idx="87">
                  <c:v>16.168148746968001</c:v>
                </c:pt>
                <c:pt idx="88">
                  <c:v>11.566265060239999</c:v>
                </c:pt>
                <c:pt idx="89">
                  <c:v>3.8633905115120002</c:v>
                </c:pt>
                <c:pt idx="90">
                  <c:v>4.8399430822690004</c:v>
                </c:pt>
                <c:pt idx="91">
                  <c:v>10.722710701264999</c:v>
                </c:pt>
                <c:pt idx="92">
                  <c:v>10.79436730288</c:v>
                </c:pt>
                <c:pt idx="93">
                  <c:v>8.8830107484430005</c:v>
                </c:pt>
                <c:pt idx="94">
                  <c:v>4.96692031073</c:v>
                </c:pt>
                <c:pt idx="95">
                  <c:v>16.985731985131999</c:v>
                </c:pt>
                <c:pt idx="96">
                  <c:v>8.0064051240990004</c:v>
                </c:pt>
                <c:pt idx="97">
                  <c:v>2.0048517412129998</c:v>
                </c:pt>
                <c:pt idx="98">
                  <c:v>9.0498647547979996</c:v>
                </c:pt>
                <c:pt idx="99">
                  <c:v>16.153947116015001</c:v>
                </c:pt>
                <c:pt idx="100">
                  <c:v>5.0741330843619998</c:v>
                </c:pt>
                <c:pt idx="101">
                  <c:v>8.1543620740609999</c:v>
                </c:pt>
                <c:pt idx="102">
                  <c:v>6.1425061425059999</c:v>
                </c:pt>
                <c:pt idx="103">
                  <c:v>4.0978568208819999</c:v>
                </c:pt>
                <c:pt idx="104">
                  <c:v>1.0252099117289999</c:v>
                </c:pt>
                <c:pt idx="105">
                  <c:v>3.0829308395839998</c:v>
                </c:pt>
                <c:pt idx="106">
                  <c:v>7.2086173871849999</c:v>
                </c:pt>
                <c:pt idx="107">
                  <c:v>4.1301833801420003</c:v>
                </c:pt>
                <c:pt idx="108">
                  <c:v>4.1431885979440004</c:v>
                </c:pt>
                <c:pt idx="109">
                  <c:v>4.1595607503840002</c:v>
                </c:pt>
                <c:pt idx="110">
                  <c:v>1.0403445621180001</c:v>
                </c:pt>
                <c:pt idx="111">
                  <c:v>1.041514779094</c:v>
                </c:pt>
                <c:pt idx="112">
                  <c:v>1.0437868587229999</c:v>
                </c:pt>
                <c:pt idx="113">
                  <c:v>3.1378783758340001</c:v>
                </c:pt>
                <c:pt idx="114">
                  <c:v>7.3476156987049999</c:v>
                </c:pt>
                <c:pt idx="115">
                  <c:v>2.1066823965610002</c:v>
                </c:pt>
                <c:pt idx="116">
                  <c:v>4.2285086050149996</c:v>
                </c:pt>
                <c:pt idx="117">
                  <c:v>0</c:v>
                </c:pt>
                <c:pt idx="118">
                  <c:v>1.0630607645529999</c:v>
                </c:pt>
                <c:pt idx="119">
                  <c:v>4.2686245424560001</c:v>
                </c:pt>
                <c:pt idx="120">
                  <c:v>2.1507688998810002</c:v>
                </c:pt>
                <c:pt idx="121">
                  <c:v>0</c:v>
                </c:pt>
                <c:pt idx="122">
                  <c:v>4.3731619053859996</c:v>
                </c:pt>
                <c:pt idx="123">
                  <c:v>0</c:v>
                </c:pt>
                <c:pt idx="124">
                  <c:v>0</c:v>
                </c:pt>
                <c:pt idx="125">
                  <c:v>1.106610893477</c:v>
                </c:pt>
                <c:pt idx="126">
                  <c:v>0</c:v>
                </c:pt>
                <c:pt idx="127">
                  <c:v>1.122762894931</c:v>
                </c:pt>
                <c:pt idx="128">
                  <c:v>2.2611644997170002</c:v>
                </c:pt>
                <c:pt idx="129">
                  <c:v>1.14108357296</c:v>
                </c:pt>
                <c:pt idx="131">
                  <c:v>1.157045830585</c:v>
                </c:pt>
                <c:pt idx="132">
                  <c:v>1.160267789805</c:v>
                </c:pt>
                <c:pt idx="133">
                  <c:v>1.1675150609439999</c:v>
                </c:pt>
                <c:pt idx="135">
                  <c:v>0</c:v>
                </c:pt>
                <c:pt idx="136">
                  <c:v>2.3851832417019998</c:v>
                </c:pt>
                <c:pt idx="137">
                  <c:v>0</c:v>
                </c:pt>
                <c:pt idx="138">
                  <c:v>0</c:v>
                </c:pt>
                <c:pt idx="139">
                  <c:v>1.208868257537</c:v>
                </c:pt>
                <c:pt idx="141">
                  <c:v>1.2228975334150001</c:v>
                </c:pt>
                <c:pt idx="142">
                  <c:v>2.4612052522119998</c:v>
                </c:pt>
                <c:pt idx="143">
                  <c:v>2.4782840361330001</c:v>
                </c:pt>
                <c:pt idx="145">
                  <c:v>1.2538398846459999</c:v>
                </c:pt>
                <c:pt idx="146">
                  <c:v>1.255792342178</c:v>
                </c:pt>
                <c:pt idx="147">
                  <c:v>0</c:v>
                </c:pt>
                <c:pt idx="148">
                  <c:v>3.8137370809650002</c:v>
                </c:pt>
                <c:pt idx="150">
                  <c:v>1.28925790315</c:v>
                </c:pt>
                <c:pt idx="151">
                  <c:v>1.299156847206</c:v>
                </c:pt>
                <c:pt idx="153">
                  <c:v>1.30507412821</c:v>
                </c:pt>
                <c:pt idx="154">
                  <c:v>0</c:v>
                </c:pt>
                <c:pt idx="155">
                  <c:v>1.321353065539</c:v>
                </c:pt>
                <c:pt idx="156">
                  <c:v>0</c:v>
                </c:pt>
                <c:pt idx="157">
                  <c:v>0</c:v>
                </c:pt>
                <c:pt idx="158">
                  <c:v>0</c:v>
                </c:pt>
                <c:pt idx="159">
                  <c:v>1.3539311390619999</c:v>
                </c:pt>
                <c:pt idx="160">
                  <c:v>0</c:v>
                </c:pt>
                <c:pt idx="161">
                  <c:v>2.7291459137860001</c:v>
                </c:pt>
                <c:pt idx="162">
                  <c:v>4.1221814584269998</c:v>
                </c:pt>
                <c:pt idx="163">
                  <c:v>1.3843129654749999</c:v>
                </c:pt>
                <c:pt idx="164">
                  <c:v>4.1864359475299997</c:v>
                </c:pt>
                <c:pt idx="165">
                  <c:v>2.8122275654540001</c:v>
                </c:pt>
                <c:pt idx="166">
                  <c:v>1.409165210529</c:v>
                </c:pt>
                <c:pt idx="167">
                  <c:v>2.8221482192240002</c:v>
                </c:pt>
                <c:pt idx="168">
                  <c:v>2.8257767353799998</c:v>
                </c:pt>
                <c:pt idx="169">
                  <c:v>2.8301753293609999</c:v>
                </c:pt>
                <c:pt idx="170">
                  <c:v>5.6985739318729998</c:v>
                </c:pt>
                <c:pt idx="171">
                  <c:v>2.8663972253269998</c:v>
                </c:pt>
                <c:pt idx="172">
                  <c:v>1.442377037357</c:v>
                </c:pt>
                <c:pt idx="173">
                  <c:v>0</c:v>
                </c:pt>
                <c:pt idx="174">
                  <c:v>1.4481210629200001</c:v>
                </c:pt>
                <c:pt idx="175">
                  <c:v>4.3699290614840001</c:v>
                </c:pt>
                <c:pt idx="176">
                  <c:v>1.46466495789</c:v>
                </c:pt>
                <c:pt idx="177">
                  <c:v>0</c:v>
                </c:pt>
                <c:pt idx="178">
                  <c:v>5.9369202226339999</c:v>
                </c:pt>
                <c:pt idx="179">
                  <c:v>2.988911139671</c:v>
                </c:pt>
                <c:pt idx="180">
                  <c:v>1.4973197975620001</c:v>
                </c:pt>
                <c:pt idx="181">
                  <c:v>0</c:v>
                </c:pt>
                <c:pt idx="182">
                  <c:v>0</c:v>
                </c:pt>
                <c:pt idx="183">
                  <c:v>3.044649789158</c:v>
                </c:pt>
                <c:pt idx="184">
                  <c:v>7.6662424679159997</c:v>
                </c:pt>
                <c:pt idx="185">
                  <c:v>0</c:v>
                </c:pt>
                <c:pt idx="186">
                  <c:v>4.662801722128</c:v>
                </c:pt>
                <c:pt idx="187">
                  <c:v>1.5591137997160001</c:v>
                </c:pt>
                <c:pt idx="188">
                  <c:v>0</c:v>
                </c:pt>
                <c:pt idx="189">
                  <c:v>12.563603241409</c:v>
                </c:pt>
                <c:pt idx="190">
                  <c:v>1.5799535493650001</c:v>
                </c:pt>
                <c:pt idx="191">
                  <c:v>4.7696270151669999</c:v>
                </c:pt>
                <c:pt idx="192">
                  <c:v>3.1965221838629998</c:v>
                </c:pt>
                <c:pt idx="193">
                  <c:v>9.6424266773799996</c:v>
                </c:pt>
                <c:pt idx="194">
                  <c:v>4.8317737441409996</c:v>
                </c:pt>
                <c:pt idx="195">
                  <c:v>1.6136059251599999</c:v>
                </c:pt>
                <c:pt idx="196">
                  <c:v>4.8624730537950001</c:v>
                </c:pt>
                <c:pt idx="197">
                  <c:v>3.2578065188699998</c:v>
                </c:pt>
                <c:pt idx="198">
                  <c:v>4.9130392060519998</c:v>
                </c:pt>
                <c:pt idx="199">
                  <c:v>0</c:v>
                </c:pt>
                <c:pt idx="200">
                  <c:v>3.3119162747559998</c:v>
                </c:pt>
                <c:pt idx="201">
                  <c:v>0</c:v>
                </c:pt>
                <c:pt idx="202">
                  <c:v>0</c:v>
                </c:pt>
                <c:pt idx="203">
                  <c:v>3.347168295621</c:v>
                </c:pt>
                <c:pt idx="204">
                  <c:v>3.3646243396919999</c:v>
                </c:pt>
                <c:pt idx="205">
                  <c:v>3.3855841825500002</c:v>
                </c:pt>
                <c:pt idx="206">
                  <c:v>5.1057746311069998</c:v>
                </c:pt>
                <c:pt idx="207">
                  <c:v>1.7127980268559999</c:v>
                </c:pt>
                <c:pt idx="208">
                  <c:v>0</c:v>
                </c:pt>
                <c:pt idx="209">
                  <c:v>3.4360718826230001</c:v>
                </c:pt>
                <c:pt idx="210">
                  <c:v>0</c:v>
                </c:pt>
                <c:pt idx="211">
                  <c:v>1.735628991946</c:v>
                </c:pt>
                <c:pt idx="212">
                  <c:v>3.4897923573540002</c:v>
                </c:pt>
                <c:pt idx="213">
                  <c:v>14.032133585911</c:v>
                </c:pt>
                <c:pt idx="214">
                  <c:v>7.0632692341650003</c:v>
                </c:pt>
                <c:pt idx="215">
                  <c:v>8.8393883143279997</c:v>
                </c:pt>
                <c:pt idx="216">
                  <c:v>1.7694730509250001</c:v>
                </c:pt>
                <c:pt idx="217">
                  <c:v>7.1136404054769997</c:v>
                </c:pt>
                <c:pt idx="218">
                  <c:v>8.9328783520619996</c:v>
                </c:pt>
                <c:pt idx="219">
                  <c:v>1.794075961176</c:v>
                </c:pt>
                <c:pt idx="220">
                  <c:v>5.4033608904730004</c:v>
                </c:pt>
                <c:pt idx="221">
                  <c:v>1.8088088993389999</c:v>
                </c:pt>
                <c:pt idx="222">
                  <c:v>1.8100530345529999</c:v>
                </c:pt>
                <c:pt idx="223">
                  <c:v>3.6224665374649998</c:v>
                </c:pt>
                <c:pt idx="224">
                  <c:v>3.6314776482550002</c:v>
                </c:pt>
                <c:pt idx="225">
                  <c:v>7.2829233654380001</c:v>
                </c:pt>
                <c:pt idx="226">
                  <c:v>5.4729544832609998</c:v>
                </c:pt>
                <c:pt idx="227">
                  <c:v>10.970325270144</c:v>
                </c:pt>
                <c:pt idx="228">
                  <c:v>12.828031080485999</c:v>
                </c:pt>
                <c:pt idx="229">
                  <c:v>3.6658235272550002</c:v>
                </c:pt>
                <c:pt idx="230">
                  <c:v>9.1637190037200007</c:v>
                </c:pt>
                <c:pt idx="231">
                  <c:v>14.691568875911001</c:v>
                </c:pt>
                <c:pt idx="232">
                  <c:v>14.713455455012999</c:v>
                </c:pt>
                <c:pt idx="233">
                  <c:v>12.893718916927</c:v>
                </c:pt>
                <c:pt idx="234">
                  <c:v>9.2239009721990008</c:v>
                </c:pt>
                <c:pt idx="235">
                  <c:v>11.091803157466</c:v>
                </c:pt>
                <c:pt idx="236">
                  <c:v>9.2429984286900009</c:v>
                </c:pt>
                <c:pt idx="237">
                  <c:v>9.2423150150639994</c:v>
                </c:pt>
                <c:pt idx="238">
                  <c:v>7.4024724257900001</c:v>
                </c:pt>
                <c:pt idx="239">
                  <c:v>12.974495848161</c:v>
                </c:pt>
                <c:pt idx="240">
                  <c:v>22.272128287457999</c:v>
                </c:pt>
                <c:pt idx="241">
                  <c:v>35.319267589924003</c:v>
                </c:pt>
                <c:pt idx="242">
                  <c:v>29.805704066615</c:v>
                </c:pt>
                <c:pt idx="243">
                  <c:v>13.045098770033</c:v>
                </c:pt>
                <c:pt idx="244">
                  <c:v>9.3210543976730005</c:v>
                </c:pt>
                <c:pt idx="245">
                  <c:v>18.678321939556</c:v>
                </c:pt>
                <c:pt idx="246">
                  <c:v>28.060460939837998</c:v>
                </c:pt>
                <c:pt idx="247">
                  <c:v>20.605810838656001</c:v>
                </c:pt>
                <c:pt idx="248">
                  <c:v>13.137644983295999</c:v>
                </c:pt>
                <c:pt idx="249">
                  <c:v>16.93161508795</c:v>
                </c:pt>
                <c:pt idx="250">
                  <c:v>7.528561480115</c:v>
                </c:pt>
                <c:pt idx="251">
                  <c:v>9.4140683837919994</c:v>
                </c:pt>
                <c:pt idx="252">
                  <c:v>33.943691187840002</c:v>
                </c:pt>
                <c:pt idx="253">
                  <c:v>49.037173949943998</c:v>
                </c:pt>
                <c:pt idx="254">
                  <c:v>30.239458713689</c:v>
                </c:pt>
                <c:pt idx="255">
                  <c:v>45.427013930949997</c:v>
                </c:pt>
                <c:pt idx="256">
                  <c:v>22.750540325332</c:v>
                </c:pt>
                <c:pt idx="257">
                  <c:v>15.172204521316001</c:v>
                </c:pt>
                <c:pt idx="258">
                  <c:v>22.763487366263998</c:v>
                </c:pt>
                <c:pt idx="259">
                  <c:v>94.982998043349994</c:v>
                </c:pt>
                <c:pt idx="260">
                  <c:v>79.904115061924998</c:v>
                </c:pt>
                <c:pt idx="261">
                  <c:v>76.196281621455995</c:v>
                </c:pt>
                <c:pt idx="262">
                  <c:v>103.002327089612</c:v>
                </c:pt>
                <c:pt idx="263">
                  <c:v>84.086609207482994</c:v>
                </c:pt>
                <c:pt idx="264">
                  <c:v>53.528073562865998</c:v>
                </c:pt>
                <c:pt idx="265">
                  <c:v>34.416826003823999</c:v>
                </c:pt>
                <c:pt idx="266">
                  <c:v>107.236552344842</c:v>
                </c:pt>
                <c:pt idx="267">
                  <c:v>136.12746131871</c:v>
                </c:pt>
                <c:pt idx="268">
                  <c:v>143.953934740882</c:v>
                </c:pt>
                <c:pt idx="269">
                  <c:v>80.733521711549997</c:v>
                </c:pt>
                <c:pt idx="270">
                  <c:v>157.956581203166</c:v>
                </c:pt>
                <c:pt idx="271">
                  <c:v>121.40833670578699</c:v>
                </c:pt>
                <c:pt idx="272">
                  <c:v>61.680801850423997</c:v>
                </c:pt>
                <c:pt idx="273">
                  <c:v>202.636200474747</c:v>
                </c:pt>
                <c:pt idx="274">
                  <c:v>225.95596755503999</c:v>
                </c:pt>
                <c:pt idx="275">
                  <c:v>212.73303937495101</c:v>
                </c:pt>
                <c:pt idx="276">
                  <c:v>174.38818810672501</c:v>
                </c:pt>
                <c:pt idx="277">
                  <c:v>202.03982515784301</c:v>
                </c:pt>
                <c:pt idx="278">
                  <c:v>106.922762884192</c:v>
                </c:pt>
                <c:pt idx="279">
                  <c:v>42.794895736072</c:v>
                </c:pt>
                <c:pt idx="280">
                  <c:v>216.302589785061</c:v>
                </c:pt>
                <c:pt idx="281">
                  <c:v>224.71031908865299</c:v>
                </c:pt>
                <c:pt idx="282">
                  <c:v>246.96681628412901</c:v>
                </c:pt>
                <c:pt idx="283">
                  <c:v>204.00557092135901</c:v>
                </c:pt>
                <c:pt idx="284">
                  <c:v>295.03166673222898</c:v>
                </c:pt>
                <c:pt idx="285">
                  <c:v>157.514422414302</c:v>
                </c:pt>
                <c:pt idx="286">
                  <c:v>80.788177339900997</c:v>
                </c:pt>
                <c:pt idx="287">
                  <c:v>306.318056955396</c:v>
                </c:pt>
                <c:pt idx="288">
                  <c:v>368.57227781630797</c:v>
                </c:pt>
                <c:pt idx="289">
                  <c:v>244.40161344804901</c:v>
                </c:pt>
                <c:pt idx="290">
                  <c:v>295.05582137161002</c:v>
                </c:pt>
                <c:pt idx="291">
                  <c:v>536.60099311228498</c:v>
                </c:pt>
                <c:pt idx="292">
                  <c:v>266.61855504771</c:v>
                </c:pt>
                <c:pt idx="293">
                  <c:v>140.43534958370901</c:v>
                </c:pt>
                <c:pt idx="294">
                  <c:v>334.07796494193798</c:v>
                </c:pt>
                <c:pt idx="295">
                  <c:v>435.69469097950599</c:v>
                </c:pt>
                <c:pt idx="296">
                  <c:v>291.27981066812299</c:v>
                </c:pt>
                <c:pt idx="297">
                  <c:v>438.38285435947301</c:v>
                </c:pt>
                <c:pt idx="298">
                  <c:v>277.33028813801201</c:v>
                </c:pt>
                <c:pt idx="299">
                  <c:v>177.63802678863101</c:v>
                </c:pt>
                <c:pt idx="300">
                  <c:v>116.495329967912</c:v>
                </c:pt>
                <c:pt idx="301">
                  <c:v>359.18065760847202</c:v>
                </c:pt>
                <c:pt idx="302">
                  <c:v>348.55422183723101</c:v>
                </c:pt>
                <c:pt idx="303">
                  <c:v>320.102432778489</c:v>
                </c:pt>
                <c:pt idx="304">
                  <c:v>246.877722916061</c:v>
                </c:pt>
                <c:pt idx="305">
                  <c:v>263.08646357505199</c:v>
                </c:pt>
                <c:pt idx="306">
                  <c:v>152.65898492231099</c:v>
                </c:pt>
                <c:pt idx="307">
                  <c:v>92.121516655150998</c:v>
                </c:pt>
                <c:pt idx="308">
                  <c:v>290.446825079451</c:v>
                </c:pt>
                <c:pt idx="309">
                  <c:v>289.781500518222</c:v>
                </c:pt>
                <c:pt idx="310">
                  <c:v>233.997745112638</c:v>
                </c:pt>
                <c:pt idx="311">
                  <c:v>205.50144493203399</c:v>
                </c:pt>
                <c:pt idx="312">
                  <c:v>196.230646482943</c:v>
                </c:pt>
                <c:pt idx="313">
                  <c:v>129.59523089550299</c:v>
                </c:pt>
                <c:pt idx="314">
                  <c:v>84.324324324323996</c:v>
                </c:pt>
                <c:pt idx="315">
                  <c:v>204.099357304151</c:v>
                </c:pt>
                <c:pt idx="316">
                  <c:v>292.21274832631798</c:v>
                </c:pt>
                <c:pt idx="317">
                  <c:v>177.44479495268101</c:v>
                </c:pt>
                <c:pt idx="318">
                  <c:v>156.28439357252901</c:v>
                </c:pt>
                <c:pt idx="319">
                  <c:v>166.07617360495999</c:v>
                </c:pt>
                <c:pt idx="320">
                  <c:v>102.034026129583</c:v>
                </c:pt>
                <c:pt idx="321">
                  <c:v>66.616334325175998</c:v>
                </c:pt>
                <c:pt idx="322">
                  <c:v>176.25666540237799</c:v>
                </c:pt>
                <c:pt idx="323">
                  <c:v>177.14990469783601</c:v>
                </c:pt>
                <c:pt idx="324">
                  <c:v>105.67021898466599</c:v>
                </c:pt>
                <c:pt idx="325">
                  <c:v>131.058637442096</c:v>
                </c:pt>
                <c:pt idx="326">
                  <c:v>36.423238025860002</c:v>
                </c:pt>
                <c:pt idx="327">
                  <c:v>43.345348359719999</c:v>
                </c:pt>
                <c:pt idx="328">
                  <c:v>34.270830953413999</c:v>
                </c:pt>
                <c:pt idx="329">
                  <c:v>96.403240985148997</c:v>
                </c:pt>
                <c:pt idx="330">
                  <c:v>186.83397149051899</c:v>
                </c:pt>
                <c:pt idx="331">
                  <c:v>169.27536231884</c:v>
                </c:pt>
                <c:pt idx="332">
                  <c:v>100.30558212227901</c:v>
                </c:pt>
                <c:pt idx="333">
                  <c:v>141.01388986815201</c:v>
                </c:pt>
                <c:pt idx="334">
                  <c:v>16.512939067253999</c:v>
                </c:pt>
                <c:pt idx="335">
                  <c:v>49.659477866061003</c:v>
                </c:pt>
                <c:pt idx="336">
                  <c:v>114.236755676138</c:v>
                </c:pt>
                <c:pt idx="337">
                  <c:v>122.155688622754</c:v>
                </c:pt>
                <c:pt idx="338">
                  <c:v>118.11213421395099</c:v>
                </c:pt>
                <c:pt idx="339">
                  <c:v>130.655698040164</c:v>
                </c:pt>
                <c:pt idx="340">
                  <c:v>87.270611621536005</c:v>
                </c:pt>
                <c:pt idx="341">
                  <c:v>51.006776614606999</c:v>
                </c:pt>
                <c:pt idx="342">
                  <c:v>34.071550255536003</c:v>
                </c:pt>
                <c:pt idx="343">
                  <c:v>105.178191424308</c:v>
                </c:pt>
                <c:pt idx="344">
                  <c:v>159.842616500676</c:v>
                </c:pt>
                <c:pt idx="345">
                  <c:v>133.475047581382</c:v>
                </c:pt>
                <c:pt idx="346">
                  <c:v>138.95436837795501</c:v>
                </c:pt>
                <c:pt idx="347">
                  <c:v>189.08294770363699</c:v>
                </c:pt>
                <c:pt idx="348">
                  <c:v>122.151867178541</c:v>
                </c:pt>
                <c:pt idx="349">
                  <c:v>104.929172808354</c:v>
                </c:pt>
                <c:pt idx="350">
                  <c:v>271.30225080385799</c:v>
                </c:pt>
                <c:pt idx="351">
                  <c:v>348.40566537908001</c:v>
                </c:pt>
                <c:pt idx="352">
                  <c:v>403.34855403348502</c:v>
                </c:pt>
                <c:pt idx="353">
                  <c:v>420.69299609902799</c:v>
                </c:pt>
                <c:pt idx="354">
                  <c:v>361.92823040197101</c:v>
                </c:pt>
                <c:pt idx="355">
                  <c:v>229.11571630840501</c:v>
                </c:pt>
                <c:pt idx="356">
                  <c:v>214.127238016614</c:v>
                </c:pt>
                <c:pt idx="357">
                  <c:v>461.19963725871202</c:v>
                </c:pt>
                <c:pt idx="358">
                  <c:v>457.84448895710301</c:v>
                </c:pt>
                <c:pt idx="359">
                  <c:v>585.19253879512996</c:v>
                </c:pt>
                <c:pt idx="360">
                  <c:v>1148.52108244178</c:v>
                </c:pt>
                <c:pt idx="361">
                  <c:v>821.46336326057701</c:v>
                </c:pt>
                <c:pt idx="362">
                  <c:v>311.436036844466</c:v>
                </c:pt>
                <c:pt idx="363">
                  <c:v>333.26280152348698</c:v>
                </c:pt>
                <c:pt idx="364">
                  <c:v>790.618698928154</c:v>
                </c:pt>
                <c:pt idx="365">
                  <c:v>972.42148892077103</c:v>
                </c:pt>
                <c:pt idx="366">
                  <c:v>816.94563452992304</c:v>
                </c:pt>
                <c:pt idx="367">
                  <c:v>799.53094184744896</c:v>
                </c:pt>
                <c:pt idx="368">
                  <c:v>667.37853710624597</c:v>
                </c:pt>
                <c:pt idx="369">
                  <c:v>392.59674705552402</c:v>
                </c:pt>
                <c:pt idx="370">
                  <c:v>154.97661990647899</c:v>
                </c:pt>
                <c:pt idx="371">
                  <c:v>714.36215753424597</c:v>
                </c:pt>
                <c:pt idx="372">
                  <c:v>806.43000669792298</c:v>
                </c:pt>
                <c:pt idx="373">
                  <c:v>625.553735871345</c:v>
                </c:pt>
                <c:pt idx="374">
                  <c:v>548.66733008794802</c:v>
                </c:pt>
                <c:pt idx="375">
                  <c:v>493.55412913317798</c:v>
                </c:pt>
                <c:pt idx="376">
                  <c:v>183.51594969503901</c:v>
                </c:pt>
                <c:pt idx="377">
                  <c:v>99.913588248001005</c:v>
                </c:pt>
                <c:pt idx="378">
                  <c:v>467.9596418621</c:v>
                </c:pt>
                <c:pt idx="379">
                  <c:v>647.52099701977704</c:v>
                </c:pt>
                <c:pt idx="380">
                  <c:v>445.289166440401</c:v>
                </c:pt>
                <c:pt idx="381">
                  <c:v>334.44816053511698</c:v>
                </c:pt>
                <c:pt idx="382">
                  <c:v>310.71983428275502</c:v>
                </c:pt>
                <c:pt idx="383">
                  <c:v>144.559910536508</c:v>
                </c:pt>
                <c:pt idx="384">
                  <c:v>90.060586212542006</c:v>
                </c:pt>
                <c:pt idx="385">
                  <c:v>344.45993602886898</c:v>
                </c:pt>
                <c:pt idx="386">
                  <c:v>358.73702659035501</c:v>
                </c:pt>
                <c:pt idx="387">
                  <c:v>211.13822698730399</c:v>
                </c:pt>
                <c:pt idx="388">
                  <c:v>222.40527182866501</c:v>
                </c:pt>
                <c:pt idx="389">
                  <c:v>211.87606625942399</c:v>
                </c:pt>
                <c:pt idx="390">
                  <c:v>101.869441920651</c:v>
                </c:pt>
                <c:pt idx="391">
                  <c:v>57.849646015261001</c:v>
                </c:pt>
                <c:pt idx="392">
                  <c:v>275.75557026251897</c:v>
                </c:pt>
                <c:pt idx="393">
                  <c:v>309.21288755142001</c:v>
                </c:pt>
                <c:pt idx="394">
                  <c:v>218.358716382431</c:v>
                </c:pt>
                <c:pt idx="395">
                  <c:v>179.88100179880999</c:v>
                </c:pt>
                <c:pt idx="396">
                  <c:v>163.52096671378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1A0B-4754-90A8-6FC4E50C7F8C}"/>
            </c:ext>
          </c:extLst>
        </c:ser>
        <c:ser>
          <c:idx val="1"/>
          <c:order val="1"/>
          <c:tx>
            <c:strRef>
              <c:f>List1!$C$1</c:f>
              <c:strCache>
                <c:ptCount val="1"/>
                <c:pt idx="0">
                  <c:v>Ukončené očkování - bez posilující dávky</c:v>
                </c:pt>
              </c:strCache>
            </c:strRef>
          </c:tx>
          <c:spPr>
            <a:ln w="28575" cap="rnd">
              <a:solidFill>
                <a:schemeClr val="bg1"/>
              </a:solidFill>
              <a:round/>
            </a:ln>
            <a:effectLst/>
          </c:spPr>
          <c:marker>
            <c:symbol val="none"/>
          </c:marker>
          <c:trendline>
            <c:spPr>
              <a:ln w="28575" cap="rnd">
                <a:solidFill>
                  <a:schemeClr val="accent1"/>
                </a:solidFill>
                <a:prstDash val="solid"/>
              </a:ln>
              <a:effectLst/>
            </c:spPr>
            <c:trendlineType val="movingAvg"/>
            <c:period val="7"/>
            <c:dispRSqr val="0"/>
            <c:dispEq val="0"/>
          </c:trendline>
          <c:cat>
            <c:numRef>
              <c:f>List1!$A$2:$A$398</c:f>
              <c:numCache>
                <c:formatCode>m/d/yyyy</c:formatCode>
                <c:ptCount val="397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  <c:pt idx="96">
                  <c:v>44324</c:v>
                </c:pt>
                <c:pt idx="97">
                  <c:v>44325</c:v>
                </c:pt>
                <c:pt idx="98">
                  <c:v>44326</c:v>
                </c:pt>
                <c:pt idx="99">
                  <c:v>44327</c:v>
                </c:pt>
                <c:pt idx="100">
                  <c:v>44328</c:v>
                </c:pt>
                <c:pt idx="101">
                  <c:v>44329</c:v>
                </c:pt>
                <c:pt idx="102">
                  <c:v>44330</c:v>
                </c:pt>
                <c:pt idx="103">
                  <c:v>44331</c:v>
                </c:pt>
                <c:pt idx="104">
                  <c:v>44332</c:v>
                </c:pt>
                <c:pt idx="105">
                  <c:v>44333</c:v>
                </c:pt>
                <c:pt idx="106">
                  <c:v>44334</c:v>
                </c:pt>
                <c:pt idx="107">
                  <c:v>44335</c:v>
                </c:pt>
                <c:pt idx="108">
                  <c:v>44336</c:v>
                </c:pt>
                <c:pt idx="109">
                  <c:v>44337</c:v>
                </c:pt>
                <c:pt idx="110">
                  <c:v>44338</c:v>
                </c:pt>
                <c:pt idx="111">
                  <c:v>44339</c:v>
                </c:pt>
                <c:pt idx="112">
                  <c:v>44340</c:v>
                </c:pt>
                <c:pt idx="113">
                  <c:v>44341</c:v>
                </c:pt>
                <c:pt idx="114">
                  <c:v>44342</c:v>
                </c:pt>
                <c:pt idx="115">
                  <c:v>44343</c:v>
                </c:pt>
                <c:pt idx="116">
                  <c:v>44344</c:v>
                </c:pt>
                <c:pt idx="117">
                  <c:v>44345</c:v>
                </c:pt>
                <c:pt idx="118">
                  <c:v>44346</c:v>
                </c:pt>
                <c:pt idx="119">
                  <c:v>44347</c:v>
                </c:pt>
                <c:pt idx="120">
                  <c:v>44348</c:v>
                </c:pt>
                <c:pt idx="121">
                  <c:v>44349</c:v>
                </c:pt>
                <c:pt idx="122">
                  <c:v>44350</c:v>
                </c:pt>
                <c:pt idx="123">
                  <c:v>44351</c:v>
                </c:pt>
                <c:pt idx="124">
                  <c:v>44352</c:v>
                </c:pt>
                <c:pt idx="125">
                  <c:v>44353</c:v>
                </c:pt>
                <c:pt idx="126">
                  <c:v>44354</c:v>
                </c:pt>
                <c:pt idx="127">
                  <c:v>44355</c:v>
                </c:pt>
                <c:pt idx="128">
                  <c:v>44356</c:v>
                </c:pt>
                <c:pt idx="129">
                  <c:v>44357</c:v>
                </c:pt>
                <c:pt idx="130">
                  <c:v>44358</c:v>
                </c:pt>
                <c:pt idx="131">
                  <c:v>44359</c:v>
                </c:pt>
                <c:pt idx="132">
                  <c:v>44360</c:v>
                </c:pt>
                <c:pt idx="133">
                  <c:v>44361</c:v>
                </c:pt>
                <c:pt idx="134">
                  <c:v>44362</c:v>
                </c:pt>
                <c:pt idx="135">
                  <c:v>44363</c:v>
                </c:pt>
                <c:pt idx="136">
                  <c:v>44364</c:v>
                </c:pt>
                <c:pt idx="137">
                  <c:v>44365</c:v>
                </c:pt>
                <c:pt idx="138">
                  <c:v>44366</c:v>
                </c:pt>
                <c:pt idx="139">
                  <c:v>44367</c:v>
                </c:pt>
                <c:pt idx="140">
                  <c:v>44368</c:v>
                </c:pt>
                <c:pt idx="141">
                  <c:v>44369</c:v>
                </c:pt>
                <c:pt idx="142">
                  <c:v>44370</c:v>
                </c:pt>
                <c:pt idx="143">
                  <c:v>44371</c:v>
                </c:pt>
                <c:pt idx="144">
                  <c:v>44372</c:v>
                </c:pt>
                <c:pt idx="145">
                  <c:v>44373</c:v>
                </c:pt>
                <c:pt idx="146">
                  <c:v>44374</c:v>
                </c:pt>
                <c:pt idx="147">
                  <c:v>44375</c:v>
                </c:pt>
                <c:pt idx="148">
                  <c:v>44376</c:v>
                </c:pt>
                <c:pt idx="149">
                  <c:v>44377</c:v>
                </c:pt>
                <c:pt idx="150">
                  <c:v>44378</c:v>
                </c:pt>
                <c:pt idx="151">
                  <c:v>44379</c:v>
                </c:pt>
                <c:pt idx="152">
                  <c:v>44380</c:v>
                </c:pt>
                <c:pt idx="153">
                  <c:v>44381</c:v>
                </c:pt>
                <c:pt idx="154">
                  <c:v>44382</c:v>
                </c:pt>
                <c:pt idx="155">
                  <c:v>44383</c:v>
                </c:pt>
                <c:pt idx="156">
                  <c:v>44384</c:v>
                </c:pt>
                <c:pt idx="157">
                  <c:v>44385</c:v>
                </c:pt>
                <c:pt idx="158">
                  <c:v>44386</c:v>
                </c:pt>
                <c:pt idx="159">
                  <c:v>44387</c:v>
                </c:pt>
                <c:pt idx="160">
                  <c:v>44388</c:v>
                </c:pt>
                <c:pt idx="161">
                  <c:v>44389</c:v>
                </c:pt>
                <c:pt idx="162">
                  <c:v>44390</c:v>
                </c:pt>
                <c:pt idx="163">
                  <c:v>44391</c:v>
                </c:pt>
                <c:pt idx="164">
                  <c:v>44392</c:v>
                </c:pt>
                <c:pt idx="165">
                  <c:v>44393</c:v>
                </c:pt>
                <c:pt idx="166">
                  <c:v>44394</c:v>
                </c:pt>
                <c:pt idx="167">
                  <c:v>44395</c:v>
                </c:pt>
                <c:pt idx="168">
                  <c:v>44396</c:v>
                </c:pt>
                <c:pt idx="169">
                  <c:v>44397</c:v>
                </c:pt>
                <c:pt idx="170">
                  <c:v>44398</c:v>
                </c:pt>
                <c:pt idx="171">
                  <c:v>44399</c:v>
                </c:pt>
                <c:pt idx="172">
                  <c:v>44400</c:v>
                </c:pt>
                <c:pt idx="173">
                  <c:v>44401</c:v>
                </c:pt>
                <c:pt idx="174">
                  <c:v>44402</c:v>
                </c:pt>
                <c:pt idx="175">
                  <c:v>44403</c:v>
                </c:pt>
                <c:pt idx="176">
                  <c:v>44404</c:v>
                </c:pt>
                <c:pt idx="177">
                  <c:v>44405</c:v>
                </c:pt>
                <c:pt idx="178">
                  <c:v>44406</c:v>
                </c:pt>
                <c:pt idx="179">
                  <c:v>44407</c:v>
                </c:pt>
                <c:pt idx="180">
                  <c:v>44408</c:v>
                </c:pt>
                <c:pt idx="181">
                  <c:v>44409</c:v>
                </c:pt>
                <c:pt idx="182">
                  <c:v>44410</c:v>
                </c:pt>
                <c:pt idx="183">
                  <c:v>44411</c:v>
                </c:pt>
                <c:pt idx="184">
                  <c:v>44412</c:v>
                </c:pt>
                <c:pt idx="185">
                  <c:v>44413</c:v>
                </c:pt>
                <c:pt idx="186">
                  <c:v>44414</c:v>
                </c:pt>
                <c:pt idx="187">
                  <c:v>44415</c:v>
                </c:pt>
                <c:pt idx="188">
                  <c:v>44416</c:v>
                </c:pt>
                <c:pt idx="189">
                  <c:v>44417</c:v>
                </c:pt>
                <c:pt idx="190">
                  <c:v>44418</c:v>
                </c:pt>
                <c:pt idx="191">
                  <c:v>44419</c:v>
                </c:pt>
                <c:pt idx="192">
                  <c:v>44420</c:v>
                </c:pt>
                <c:pt idx="193">
                  <c:v>44421</c:v>
                </c:pt>
                <c:pt idx="194">
                  <c:v>44422</c:v>
                </c:pt>
                <c:pt idx="195">
                  <c:v>44423</c:v>
                </c:pt>
                <c:pt idx="196">
                  <c:v>44424</c:v>
                </c:pt>
                <c:pt idx="197">
                  <c:v>44425</c:v>
                </c:pt>
                <c:pt idx="198">
                  <c:v>44426</c:v>
                </c:pt>
                <c:pt idx="199">
                  <c:v>44427</c:v>
                </c:pt>
                <c:pt idx="200">
                  <c:v>44428</c:v>
                </c:pt>
                <c:pt idx="201">
                  <c:v>44429</c:v>
                </c:pt>
                <c:pt idx="202">
                  <c:v>44430</c:v>
                </c:pt>
                <c:pt idx="203">
                  <c:v>44431</c:v>
                </c:pt>
                <c:pt idx="204">
                  <c:v>44432</c:v>
                </c:pt>
                <c:pt idx="205">
                  <c:v>44433</c:v>
                </c:pt>
                <c:pt idx="206">
                  <c:v>44434</c:v>
                </c:pt>
                <c:pt idx="207">
                  <c:v>44435</c:v>
                </c:pt>
                <c:pt idx="208">
                  <c:v>44436</c:v>
                </c:pt>
                <c:pt idx="209">
                  <c:v>44437</c:v>
                </c:pt>
                <c:pt idx="210">
                  <c:v>44438</c:v>
                </c:pt>
                <c:pt idx="211">
                  <c:v>44439</c:v>
                </c:pt>
                <c:pt idx="212">
                  <c:v>44440</c:v>
                </c:pt>
                <c:pt idx="213">
                  <c:v>44441</c:v>
                </c:pt>
                <c:pt idx="214">
                  <c:v>44442</c:v>
                </c:pt>
                <c:pt idx="215">
                  <c:v>44443</c:v>
                </c:pt>
                <c:pt idx="216">
                  <c:v>44444</c:v>
                </c:pt>
                <c:pt idx="217">
                  <c:v>44445</c:v>
                </c:pt>
                <c:pt idx="218">
                  <c:v>44446</c:v>
                </c:pt>
                <c:pt idx="219">
                  <c:v>44447</c:v>
                </c:pt>
                <c:pt idx="220">
                  <c:v>44448</c:v>
                </c:pt>
                <c:pt idx="221">
                  <c:v>44449</c:v>
                </c:pt>
                <c:pt idx="222">
                  <c:v>44450</c:v>
                </c:pt>
                <c:pt idx="223">
                  <c:v>44451</c:v>
                </c:pt>
                <c:pt idx="224">
                  <c:v>44452</c:v>
                </c:pt>
                <c:pt idx="225">
                  <c:v>44453</c:v>
                </c:pt>
                <c:pt idx="226">
                  <c:v>44454</c:v>
                </c:pt>
                <c:pt idx="227">
                  <c:v>44455</c:v>
                </c:pt>
                <c:pt idx="228">
                  <c:v>44456</c:v>
                </c:pt>
                <c:pt idx="229">
                  <c:v>44457</c:v>
                </c:pt>
                <c:pt idx="230">
                  <c:v>44458</c:v>
                </c:pt>
                <c:pt idx="231">
                  <c:v>44459</c:v>
                </c:pt>
                <c:pt idx="232">
                  <c:v>44460</c:v>
                </c:pt>
                <c:pt idx="233">
                  <c:v>44461</c:v>
                </c:pt>
                <c:pt idx="234">
                  <c:v>44462</c:v>
                </c:pt>
                <c:pt idx="235">
                  <c:v>44463</c:v>
                </c:pt>
                <c:pt idx="236">
                  <c:v>44464</c:v>
                </c:pt>
                <c:pt idx="237">
                  <c:v>44465</c:v>
                </c:pt>
                <c:pt idx="238">
                  <c:v>44466</c:v>
                </c:pt>
                <c:pt idx="239">
                  <c:v>44467</c:v>
                </c:pt>
                <c:pt idx="240">
                  <c:v>44468</c:v>
                </c:pt>
                <c:pt idx="241">
                  <c:v>44469</c:v>
                </c:pt>
                <c:pt idx="242">
                  <c:v>44470</c:v>
                </c:pt>
                <c:pt idx="243">
                  <c:v>44471</c:v>
                </c:pt>
                <c:pt idx="244">
                  <c:v>44472</c:v>
                </c:pt>
                <c:pt idx="245">
                  <c:v>44473</c:v>
                </c:pt>
                <c:pt idx="246">
                  <c:v>44474</c:v>
                </c:pt>
                <c:pt idx="247">
                  <c:v>44475</c:v>
                </c:pt>
                <c:pt idx="248">
                  <c:v>44476</c:v>
                </c:pt>
                <c:pt idx="249">
                  <c:v>44477</c:v>
                </c:pt>
                <c:pt idx="250">
                  <c:v>44478</c:v>
                </c:pt>
                <c:pt idx="251">
                  <c:v>44479</c:v>
                </c:pt>
                <c:pt idx="252">
                  <c:v>44480</c:v>
                </c:pt>
                <c:pt idx="253">
                  <c:v>44481</c:v>
                </c:pt>
                <c:pt idx="254">
                  <c:v>44482</c:v>
                </c:pt>
                <c:pt idx="255">
                  <c:v>44483</c:v>
                </c:pt>
                <c:pt idx="256">
                  <c:v>44484</c:v>
                </c:pt>
                <c:pt idx="257">
                  <c:v>44485</c:v>
                </c:pt>
                <c:pt idx="258">
                  <c:v>44486</c:v>
                </c:pt>
                <c:pt idx="259">
                  <c:v>44487</c:v>
                </c:pt>
                <c:pt idx="260">
                  <c:v>44488</c:v>
                </c:pt>
                <c:pt idx="261">
                  <c:v>44489</c:v>
                </c:pt>
                <c:pt idx="262">
                  <c:v>44490</c:v>
                </c:pt>
                <c:pt idx="263">
                  <c:v>44491</c:v>
                </c:pt>
                <c:pt idx="264">
                  <c:v>44492</c:v>
                </c:pt>
                <c:pt idx="265">
                  <c:v>44493</c:v>
                </c:pt>
                <c:pt idx="266">
                  <c:v>44494</c:v>
                </c:pt>
                <c:pt idx="267">
                  <c:v>44495</c:v>
                </c:pt>
                <c:pt idx="268">
                  <c:v>44496</c:v>
                </c:pt>
                <c:pt idx="269">
                  <c:v>44497</c:v>
                </c:pt>
                <c:pt idx="270">
                  <c:v>44498</c:v>
                </c:pt>
                <c:pt idx="271">
                  <c:v>44499</c:v>
                </c:pt>
                <c:pt idx="272">
                  <c:v>44500</c:v>
                </c:pt>
                <c:pt idx="273">
                  <c:v>44501</c:v>
                </c:pt>
                <c:pt idx="274">
                  <c:v>44502</c:v>
                </c:pt>
                <c:pt idx="275">
                  <c:v>44503</c:v>
                </c:pt>
                <c:pt idx="276">
                  <c:v>44504</c:v>
                </c:pt>
                <c:pt idx="277">
                  <c:v>44505</c:v>
                </c:pt>
                <c:pt idx="278">
                  <c:v>44506</c:v>
                </c:pt>
                <c:pt idx="279">
                  <c:v>44507</c:v>
                </c:pt>
                <c:pt idx="280">
                  <c:v>44508</c:v>
                </c:pt>
                <c:pt idx="281">
                  <c:v>44509</c:v>
                </c:pt>
                <c:pt idx="282">
                  <c:v>44510</c:v>
                </c:pt>
                <c:pt idx="283">
                  <c:v>44511</c:v>
                </c:pt>
                <c:pt idx="284">
                  <c:v>44512</c:v>
                </c:pt>
                <c:pt idx="285">
                  <c:v>44513</c:v>
                </c:pt>
                <c:pt idx="286">
                  <c:v>44514</c:v>
                </c:pt>
                <c:pt idx="287">
                  <c:v>44515</c:v>
                </c:pt>
                <c:pt idx="288">
                  <c:v>44516</c:v>
                </c:pt>
                <c:pt idx="289">
                  <c:v>44517</c:v>
                </c:pt>
                <c:pt idx="290">
                  <c:v>44518</c:v>
                </c:pt>
                <c:pt idx="291">
                  <c:v>44519</c:v>
                </c:pt>
                <c:pt idx="292">
                  <c:v>44520</c:v>
                </c:pt>
                <c:pt idx="293">
                  <c:v>44521</c:v>
                </c:pt>
                <c:pt idx="294">
                  <c:v>44522</c:v>
                </c:pt>
                <c:pt idx="295">
                  <c:v>44523</c:v>
                </c:pt>
                <c:pt idx="296">
                  <c:v>44524</c:v>
                </c:pt>
                <c:pt idx="297">
                  <c:v>44525</c:v>
                </c:pt>
                <c:pt idx="298">
                  <c:v>44526</c:v>
                </c:pt>
                <c:pt idx="299">
                  <c:v>44527</c:v>
                </c:pt>
                <c:pt idx="300">
                  <c:v>44528</c:v>
                </c:pt>
                <c:pt idx="301">
                  <c:v>44529</c:v>
                </c:pt>
                <c:pt idx="302">
                  <c:v>44530</c:v>
                </c:pt>
                <c:pt idx="303">
                  <c:v>44531</c:v>
                </c:pt>
                <c:pt idx="304">
                  <c:v>44532</c:v>
                </c:pt>
                <c:pt idx="305">
                  <c:v>44533</c:v>
                </c:pt>
                <c:pt idx="306">
                  <c:v>44534</c:v>
                </c:pt>
                <c:pt idx="307">
                  <c:v>44535</c:v>
                </c:pt>
                <c:pt idx="308">
                  <c:v>44536</c:v>
                </c:pt>
                <c:pt idx="309">
                  <c:v>44537</c:v>
                </c:pt>
                <c:pt idx="310">
                  <c:v>44538</c:v>
                </c:pt>
                <c:pt idx="311">
                  <c:v>44539</c:v>
                </c:pt>
                <c:pt idx="312">
                  <c:v>44540</c:v>
                </c:pt>
                <c:pt idx="313">
                  <c:v>44541</c:v>
                </c:pt>
                <c:pt idx="314">
                  <c:v>44542</c:v>
                </c:pt>
                <c:pt idx="315">
                  <c:v>44543</c:v>
                </c:pt>
                <c:pt idx="316">
                  <c:v>44544</c:v>
                </c:pt>
                <c:pt idx="317">
                  <c:v>44545</c:v>
                </c:pt>
                <c:pt idx="318">
                  <c:v>44546</c:v>
                </c:pt>
                <c:pt idx="319">
                  <c:v>44547</c:v>
                </c:pt>
                <c:pt idx="320">
                  <c:v>44548</c:v>
                </c:pt>
                <c:pt idx="321">
                  <c:v>44549</c:v>
                </c:pt>
                <c:pt idx="322">
                  <c:v>44550</c:v>
                </c:pt>
                <c:pt idx="323">
                  <c:v>44551</c:v>
                </c:pt>
                <c:pt idx="324">
                  <c:v>44552</c:v>
                </c:pt>
                <c:pt idx="325">
                  <c:v>44553</c:v>
                </c:pt>
                <c:pt idx="326">
                  <c:v>44554</c:v>
                </c:pt>
                <c:pt idx="327">
                  <c:v>44555</c:v>
                </c:pt>
                <c:pt idx="328">
                  <c:v>44556</c:v>
                </c:pt>
                <c:pt idx="329">
                  <c:v>44557</c:v>
                </c:pt>
                <c:pt idx="330">
                  <c:v>44558</c:v>
                </c:pt>
                <c:pt idx="331">
                  <c:v>44559</c:v>
                </c:pt>
                <c:pt idx="332">
                  <c:v>44560</c:v>
                </c:pt>
                <c:pt idx="333">
                  <c:v>44561</c:v>
                </c:pt>
                <c:pt idx="334">
                  <c:v>44562</c:v>
                </c:pt>
                <c:pt idx="335">
                  <c:v>44563</c:v>
                </c:pt>
                <c:pt idx="336">
                  <c:v>44564</c:v>
                </c:pt>
                <c:pt idx="337">
                  <c:v>44565</c:v>
                </c:pt>
                <c:pt idx="338">
                  <c:v>44566</c:v>
                </c:pt>
                <c:pt idx="339">
                  <c:v>44567</c:v>
                </c:pt>
                <c:pt idx="340">
                  <c:v>44568</c:v>
                </c:pt>
                <c:pt idx="341">
                  <c:v>44569</c:v>
                </c:pt>
                <c:pt idx="342">
                  <c:v>44570</c:v>
                </c:pt>
                <c:pt idx="343">
                  <c:v>44571</c:v>
                </c:pt>
                <c:pt idx="344">
                  <c:v>44572</c:v>
                </c:pt>
                <c:pt idx="345">
                  <c:v>44573</c:v>
                </c:pt>
                <c:pt idx="346">
                  <c:v>44574</c:v>
                </c:pt>
                <c:pt idx="347">
                  <c:v>44575</c:v>
                </c:pt>
                <c:pt idx="348">
                  <c:v>44576</c:v>
                </c:pt>
                <c:pt idx="349">
                  <c:v>44577</c:v>
                </c:pt>
                <c:pt idx="350">
                  <c:v>44578</c:v>
                </c:pt>
                <c:pt idx="351">
                  <c:v>44579</c:v>
                </c:pt>
                <c:pt idx="352">
                  <c:v>44580</c:v>
                </c:pt>
                <c:pt idx="353">
                  <c:v>44581</c:v>
                </c:pt>
                <c:pt idx="354">
                  <c:v>44582</c:v>
                </c:pt>
                <c:pt idx="355">
                  <c:v>44583</c:v>
                </c:pt>
                <c:pt idx="356">
                  <c:v>44584</c:v>
                </c:pt>
                <c:pt idx="357">
                  <c:v>44585</c:v>
                </c:pt>
                <c:pt idx="358">
                  <c:v>44586</c:v>
                </c:pt>
                <c:pt idx="359">
                  <c:v>44587</c:v>
                </c:pt>
                <c:pt idx="360">
                  <c:v>44588</c:v>
                </c:pt>
                <c:pt idx="361">
                  <c:v>44589</c:v>
                </c:pt>
                <c:pt idx="362">
                  <c:v>44590</c:v>
                </c:pt>
                <c:pt idx="363">
                  <c:v>44591</c:v>
                </c:pt>
                <c:pt idx="364">
                  <c:v>44592</c:v>
                </c:pt>
                <c:pt idx="365">
                  <c:v>44593</c:v>
                </c:pt>
                <c:pt idx="366">
                  <c:v>44594</c:v>
                </c:pt>
                <c:pt idx="367">
                  <c:v>44595</c:v>
                </c:pt>
                <c:pt idx="368">
                  <c:v>44596</c:v>
                </c:pt>
                <c:pt idx="369">
                  <c:v>44597</c:v>
                </c:pt>
                <c:pt idx="370">
                  <c:v>44598</c:v>
                </c:pt>
                <c:pt idx="371">
                  <c:v>44599</c:v>
                </c:pt>
                <c:pt idx="372">
                  <c:v>44600</c:v>
                </c:pt>
                <c:pt idx="373">
                  <c:v>44601</c:v>
                </c:pt>
                <c:pt idx="374">
                  <c:v>44602</c:v>
                </c:pt>
                <c:pt idx="375">
                  <c:v>44603</c:v>
                </c:pt>
                <c:pt idx="376">
                  <c:v>44604</c:v>
                </c:pt>
                <c:pt idx="377">
                  <c:v>44605</c:v>
                </c:pt>
                <c:pt idx="378">
                  <c:v>44606</c:v>
                </c:pt>
                <c:pt idx="379">
                  <c:v>44607</c:v>
                </c:pt>
                <c:pt idx="380">
                  <c:v>44608</c:v>
                </c:pt>
                <c:pt idx="381">
                  <c:v>44609</c:v>
                </c:pt>
                <c:pt idx="382">
                  <c:v>44610</c:v>
                </c:pt>
                <c:pt idx="383">
                  <c:v>44611</c:v>
                </c:pt>
                <c:pt idx="384">
                  <c:v>44612</c:v>
                </c:pt>
                <c:pt idx="385">
                  <c:v>44613</c:v>
                </c:pt>
                <c:pt idx="386">
                  <c:v>44614</c:v>
                </c:pt>
                <c:pt idx="387">
                  <c:v>44615</c:v>
                </c:pt>
                <c:pt idx="388">
                  <c:v>44616</c:v>
                </c:pt>
                <c:pt idx="389">
                  <c:v>44617</c:v>
                </c:pt>
                <c:pt idx="390">
                  <c:v>44618</c:v>
                </c:pt>
                <c:pt idx="391">
                  <c:v>44619</c:v>
                </c:pt>
                <c:pt idx="392">
                  <c:v>44620</c:v>
                </c:pt>
                <c:pt idx="393">
                  <c:v>44621</c:v>
                </c:pt>
                <c:pt idx="394">
                  <c:v>44622</c:v>
                </c:pt>
                <c:pt idx="395">
                  <c:v>44623</c:v>
                </c:pt>
                <c:pt idx="396">
                  <c:v>44624</c:v>
                </c:pt>
              </c:numCache>
            </c:numRef>
          </c:cat>
          <c:val>
            <c:numRef>
              <c:f>List1!$C$2:$C$398</c:f>
              <c:numCache>
                <c:formatCode>General</c:formatCode>
                <c:ptCount val="397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.81750106275099998</c:v>
                </c:pt>
                <c:pt idx="9">
                  <c:v>0.81753113771700003</c:v>
                </c:pt>
                <c:pt idx="10">
                  <c:v>1.2263368093160001</c:v>
                </c:pt>
                <c:pt idx="11">
                  <c:v>2.4527638560709999</c:v>
                </c:pt>
                <c:pt idx="12">
                  <c:v>0.40880734545000003</c:v>
                </c:pt>
                <c:pt idx="13">
                  <c:v>0</c:v>
                </c:pt>
                <c:pt idx="14">
                  <c:v>1.2265072752320001</c:v>
                </c:pt>
                <c:pt idx="15">
                  <c:v>2.4530947834929999</c:v>
                </c:pt>
                <c:pt idx="16">
                  <c:v>0.81772835064100002</c:v>
                </c:pt>
                <c:pt idx="17">
                  <c:v>4.0887754935149996</c:v>
                </c:pt>
                <c:pt idx="18">
                  <c:v>2.8622364697989999</c:v>
                </c:pt>
                <c:pt idx="19">
                  <c:v>1.6356238882859999</c:v>
                </c:pt>
                <c:pt idx="20">
                  <c:v>0.40891934883600001</c:v>
                </c:pt>
                <c:pt idx="21">
                  <c:v>3.6804095886930002</c:v>
                </c:pt>
                <c:pt idx="22">
                  <c:v>5.7252688831630003</c:v>
                </c:pt>
                <c:pt idx="23">
                  <c:v>5.7254796111579997</c:v>
                </c:pt>
                <c:pt idx="24">
                  <c:v>4.0897620985380003</c:v>
                </c:pt>
                <c:pt idx="25">
                  <c:v>8.5887814155120008</c:v>
                </c:pt>
                <c:pt idx="26">
                  <c:v>3.6810418166350001</c:v>
                </c:pt>
                <c:pt idx="27">
                  <c:v>4.4991983246620002</c:v>
                </c:pt>
                <c:pt idx="28">
                  <c:v>8.1798252789320003</c:v>
                </c:pt>
                <c:pt idx="29">
                  <c:v>4.9075940928920003</c:v>
                </c:pt>
                <c:pt idx="30">
                  <c:v>7.7698488968849997</c:v>
                </c:pt>
                <c:pt idx="31">
                  <c:v>4.4978921241899998</c:v>
                </c:pt>
                <c:pt idx="32">
                  <c:v>6.5417198181399998</c:v>
                </c:pt>
                <c:pt idx="33">
                  <c:v>3.6793563579269999</c:v>
                </c:pt>
                <c:pt idx="34">
                  <c:v>1.6351090617740001</c:v>
                </c:pt>
                <c:pt idx="35">
                  <c:v>5.7223203191409997</c:v>
                </c:pt>
                <c:pt idx="36">
                  <c:v>6.9478218578469999</c:v>
                </c:pt>
                <c:pt idx="37">
                  <c:v>2.4519319180229999</c:v>
                </c:pt>
                <c:pt idx="38">
                  <c:v>6.129228657004</c:v>
                </c:pt>
                <c:pt idx="39">
                  <c:v>6.5372028126309996</c:v>
                </c:pt>
                <c:pt idx="40">
                  <c:v>2.8597458094510002</c:v>
                </c:pt>
                <c:pt idx="41">
                  <c:v>3.267947157294</c:v>
                </c:pt>
                <c:pt idx="42">
                  <c:v>8.5775203613989994</c:v>
                </c:pt>
                <c:pt idx="43">
                  <c:v>4.4925464570139999</c:v>
                </c:pt>
                <c:pt idx="44">
                  <c:v>3.2669862868249999</c:v>
                </c:pt>
                <c:pt idx="45">
                  <c:v>5.3083107730119998</c:v>
                </c:pt>
                <c:pt idx="46">
                  <c:v>6.1243737827800002</c:v>
                </c:pt>
                <c:pt idx="47">
                  <c:v>1.224754742862</c:v>
                </c:pt>
                <c:pt idx="48">
                  <c:v>1.632846336913</c:v>
                </c:pt>
                <c:pt idx="49">
                  <c:v>5.714402334741</c:v>
                </c:pt>
                <c:pt idx="50">
                  <c:v>5.7138192800579999</c:v>
                </c:pt>
                <c:pt idx="51">
                  <c:v>6.5294396108450004</c:v>
                </c:pt>
                <c:pt idx="52">
                  <c:v>4.080500106093</c:v>
                </c:pt>
                <c:pt idx="53">
                  <c:v>3.2640804269410002</c:v>
                </c:pt>
                <c:pt idx="54">
                  <c:v>3.2637475164919998</c:v>
                </c:pt>
                <c:pt idx="55">
                  <c:v>1.6317139931710001</c:v>
                </c:pt>
                <c:pt idx="56">
                  <c:v>4.07888564844</c:v>
                </c:pt>
                <c:pt idx="57">
                  <c:v>2.447091835278</c:v>
                </c:pt>
                <c:pt idx="58">
                  <c:v>4.893684699894</c:v>
                </c:pt>
                <c:pt idx="59">
                  <c:v>2.0386611704359998</c:v>
                </c:pt>
                <c:pt idx="60">
                  <c:v>1.222967326389</c:v>
                </c:pt>
                <c:pt idx="61">
                  <c:v>3.6682141095810001</c:v>
                </c:pt>
                <c:pt idx="62">
                  <c:v>0.40750460480200001</c:v>
                </c:pt>
                <c:pt idx="63">
                  <c:v>1.222284694551</c:v>
                </c:pt>
                <c:pt idx="64">
                  <c:v>3.666166981685</c:v>
                </c:pt>
                <c:pt idx="65">
                  <c:v>2.8509406067610001</c:v>
                </c:pt>
                <c:pt idx="66">
                  <c:v>4.0720094144849996</c:v>
                </c:pt>
                <c:pt idx="67">
                  <c:v>2.0356234096689998</c:v>
                </c:pt>
                <c:pt idx="68">
                  <c:v>2.035242254885</c:v>
                </c:pt>
                <c:pt idx="69">
                  <c:v>0.813947809666</c:v>
                </c:pt>
                <c:pt idx="70">
                  <c:v>3.6620795729200002</c:v>
                </c:pt>
                <c:pt idx="71">
                  <c:v>2.0341079216289999</c:v>
                </c:pt>
                <c:pt idx="72">
                  <c:v>2.0337356062360001</c:v>
                </c:pt>
                <c:pt idx="73">
                  <c:v>2.4400261896140001</c:v>
                </c:pt>
                <c:pt idx="74">
                  <c:v>2.0329748521009998</c:v>
                </c:pt>
                <c:pt idx="75">
                  <c:v>2.439113626108</c:v>
                </c:pt>
                <c:pt idx="76">
                  <c:v>1.62577834138</c:v>
                </c:pt>
                <c:pt idx="77">
                  <c:v>2.8445802618629998</c:v>
                </c:pt>
                <c:pt idx="78">
                  <c:v>2.8440486251050001</c:v>
                </c:pt>
                <c:pt idx="79">
                  <c:v>4.8746206935769996</c:v>
                </c:pt>
                <c:pt idx="80">
                  <c:v>1.6245699966289999</c:v>
                </c:pt>
                <c:pt idx="81">
                  <c:v>2.0303331776740001</c:v>
                </c:pt>
                <c:pt idx="82">
                  <c:v>0.40599080024799999</c:v>
                </c:pt>
                <c:pt idx="83">
                  <c:v>0.40591664095800001</c:v>
                </c:pt>
                <c:pt idx="84">
                  <c:v>2.8408860317690001</c:v>
                </c:pt>
                <c:pt idx="85">
                  <c:v>2.8403557748489998</c:v>
                </c:pt>
                <c:pt idx="86">
                  <c:v>1.217073101467</c:v>
                </c:pt>
                <c:pt idx="87">
                  <c:v>4.0561533874959999</c:v>
                </c:pt>
                <c:pt idx="88">
                  <c:v>2.4332380315100002</c:v>
                </c:pt>
                <c:pt idx="89">
                  <c:v>0.810974101542</c:v>
                </c:pt>
                <c:pt idx="90">
                  <c:v>1.6220337058600001</c:v>
                </c:pt>
                <c:pt idx="91">
                  <c:v>2.8387201427469999</c:v>
                </c:pt>
                <c:pt idx="92">
                  <c:v>4.4610811227319997</c:v>
                </c:pt>
                <c:pt idx="93">
                  <c:v>3.2446068550430001</c:v>
                </c:pt>
                <c:pt idx="94">
                  <c:v>1.2167917258159999</c:v>
                </c:pt>
                <c:pt idx="95">
                  <c:v>1.622481098095</c:v>
                </c:pt>
                <c:pt idx="96">
                  <c:v>0</c:v>
                </c:pt>
                <c:pt idx="97">
                  <c:v>0</c:v>
                </c:pt>
                <c:pt idx="98">
                  <c:v>2.0284304816300001</c:v>
                </c:pt>
                <c:pt idx="99">
                  <c:v>1.2171224790349999</c:v>
                </c:pt>
                <c:pt idx="100">
                  <c:v>2.434383228722</c:v>
                </c:pt>
                <c:pt idx="101">
                  <c:v>2.4345116369649999</c:v>
                </c:pt>
                <c:pt idx="102">
                  <c:v>0.81154997930499995</c:v>
                </c:pt>
                <c:pt idx="103">
                  <c:v>0.81159279143200003</c:v>
                </c:pt>
                <c:pt idx="104">
                  <c:v>0.40581945092600002</c:v>
                </c:pt>
                <c:pt idx="105">
                  <c:v>3.24672689345</c:v>
                </c:pt>
                <c:pt idx="106">
                  <c:v>1.2175917658319999</c:v>
                </c:pt>
                <c:pt idx="107">
                  <c:v>1.2176560121760001</c:v>
                </c:pt>
                <c:pt idx="108">
                  <c:v>1.6236336108389999</c:v>
                </c:pt>
                <c:pt idx="109">
                  <c:v>0.40592982285200002</c:v>
                </c:pt>
                <c:pt idx="110">
                  <c:v>0.40595124525499998</c:v>
                </c:pt>
                <c:pt idx="111">
                  <c:v>0</c:v>
                </c:pt>
                <c:pt idx="112">
                  <c:v>1.2179872354929999</c:v>
                </c:pt>
                <c:pt idx="113">
                  <c:v>0.81203764606499995</c:v>
                </c:pt>
                <c:pt idx="114">
                  <c:v>0.81208050966099998</c:v>
                </c:pt>
                <c:pt idx="115">
                  <c:v>1.2181900132779999</c:v>
                </c:pt>
                <c:pt idx="116">
                  <c:v>1.6243390970289999</c:v>
                </c:pt>
                <c:pt idx="117">
                  <c:v>0.406107862248</c:v>
                </c:pt>
                <c:pt idx="118">
                  <c:v>0</c:v>
                </c:pt>
                <c:pt idx="119">
                  <c:v>0.81230149382200001</c:v>
                </c:pt>
                <c:pt idx="120">
                  <c:v>0</c:v>
                </c:pt>
                <c:pt idx="121">
                  <c:v>0</c:v>
                </c:pt>
                <c:pt idx="122">
                  <c:v>1.218526476549</c:v>
                </c:pt>
                <c:pt idx="123">
                  <c:v>0</c:v>
                </c:pt>
                <c:pt idx="124">
                  <c:v>0</c:v>
                </c:pt>
                <c:pt idx="125">
                  <c:v>0</c:v>
                </c:pt>
                <c:pt idx="126">
                  <c:v>0.40620849056899999</c:v>
                </c:pt>
                <c:pt idx="127">
                  <c:v>0.40621509089000002</c:v>
                </c:pt>
                <c:pt idx="128">
                  <c:v>0</c:v>
                </c:pt>
                <c:pt idx="129">
                  <c:v>0</c:v>
                </c:pt>
                <c:pt idx="131">
                  <c:v>0.40624809571199999</c:v>
                </c:pt>
                <c:pt idx="132">
                  <c:v>0.40625634775500002</c:v>
                </c:pt>
                <c:pt idx="133">
                  <c:v>0</c:v>
                </c:pt>
                <c:pt idx="135">
                  <c:v>0</c:v>
                </c:pt>
                <c:pt idx="136">
                  <c:v>0</c:v>
                </c:pt>
                <c:pt idx="137">
                  <c:v>0</c:v>
                </c:pt>
                <c:pt idx="138">
                  <c:v>0.406304216218</c:v>
                </c:pt>
                <c:pt idx="139">
                  <c:v>0</c:v>
                </c:pt>
                <c:pt idx="141">
                  <c:v>0</c:v>
                </c:pt>
                <c:pt idx="142">
                  <c:v>0</c:v>
                </c:pt>
                <c:pt idx="143">
                  <c:v>0</c:v>
                </c:pt>
                <c:pt idx="145">
                  <c:v>0</c:v>
                </c:pt>
                <c:pt idx="146">
                  <c:v>0</c:v>
                </c:pt>
                <c:pt idx="147">
                  <c:v>0.406376865777</c:v>
                </c:pt>
                <c:pt idx="148">
                  <c:v>0</c:v>
                </c:pt>
                <c:pt idx="150">
                  <c:v>0.40637521436200003</c:v>
                </c:pt>
                <c:pt idx="151">
                  <c:v>0.81269758709999995</c:v>
                </c:pt>
                <c:pt idx="153">
                  <c:v>0.40629761300099998</c:v>
                </c:pt>
                <c:pt idx="154">
                  <c:v>0.81254240455600002</c:v>
                </c:pt>
                <c:pt idx="155">
                  <c:v>0</c:v>
                </c:pt>
                <c:pt idx="156">
                  <c:v>0.40622004127099998</c:v>
                </c:pt>
                <c:pt idx="157">
                  <c:v>1.624774562529</c:v>
                </c:pt>
                <c:pt idx="158">
                  <c:v>0.40616724342400001</c:v>
                </c:pt>
                <c:pt idx="159">
                  <c:v>0</c:v>
                </c:pt>
                <c:pt idx="160">
                  <c:v>0.40611610859500002</c:v>
                </c:pt>
                <c:pt idx="161">
                  <c:v>1.6243588858519999</c:v>
                </c:pt>
                <c:pt idx="162">
                  <c:v>0.40606498664000001</c:v>
                </c:pt>
                <c:pt idx="163">
                  <c:v>1.6241544246020001</c:v>
                </c:pt>
                <c:pt idx="164">
                  <c:v>0.406012229088</c:v>
                </c:pt>
                <c:pt idx="165">
                  <c:v>2.029937518523</c:v>
                </c:pt>
                <c:pt idx="166">
                  <c:v>0</c:v>
                </c:pt>
                <c:pt idx="167">
                  <c:v>0.40593476628300001</c:v>
                </c:pt>
                <c:pt idx="168">
                  <c:v>2.0295502516639998</c:v>
                </c:pt>
                <c:pt idx="169">
                  <c:v>2.029418449849</c:v>
                </c:pt>
                <c:pt idx="170">
                  <c:v>0.81171466605999998</c:v>
                </c:pt>
                <c:pt idx="171">
                  <c:v>2.0291631325399999</c:v>
                </c:pt>
                <c:pt idx="172">
                  <c:v>1.217418828599</c:v>
                </c:pt>
                <c:pt idx="173">
                  <c:v>0.405779929313</c:v>
                </c:pt>
                <c:pt idx="174">
                  <c:v>0</c:v>
                </c:pt>
                <c:pt idx="175">
                  <c:v>2.0286444597709998</c:v>
                </c:pt>
                <c:pt idx="176">
                  <c:v>0.81140511022899997</c:v>
                </c:pt>
                <c:pt idx="177">
                  <c:v>0.81135573486500001</c:v>
                </c:pt>
                <c:pt idx="178">
                  <c:v>0.405651537216</c:v>
                </c:pt>
                <c:pt idx="179">
                  <c:v>0.81125042083599996</c:v>
                </c:pt>
                <c:pt idx="180">
                  <c:v>0.405598887036</c:v>
                </c:pt>
                <c:pt idx="181">
                  <c:v>0.40561698399399998</c:v>
                </c:pt>
                <c:pt idx="182">
                  <c:v>0.81127016513399997</c:v>
                </c:pt>
                <c:pt idx="183">
                  <c:v>1.622606148866</c:v>
                </c:pt>
                <c:pt idx="184">
                  <c:v>1.6226785554909999</c:v>
                </c:pt>
                <c:pt idx="185">
                  <c:v>1.2170582889779999</c:v>
                </c:pt>
                <c:pt idx="186">
                  <c:v>0.81140840213400001</c:v>
                </c:pt>
                <c:pt idx="187">
                  <c:v>0</c:v>
                </c:pt>
                <c:pt idx="188">
                  <c:v>0.811477538301</c:v>
                </c:pt>
                <c:pt idx="189">
                  <c:v>1.217265696641</c:v>
                </c:pt>
                <c:pt idx="190">
                  <c:v>0.81154668625100002</c:v>
                </c:pt>
                <c:pt idx="191">
                  <c:v>1.6231658226200001</c:v>
                </c:pt>
                <c:pt idx="192">
                  <c:v>0.81161584598699998</c:v>
                </c:pt>
                <c:pt idx="193">
                  <c:v>1.2174781158300001</c:v>
                </c:pt>
                <c:pt idx="194">
                  <c:v>0.40584250875599998</c:v>
                </c:pt>
                <c:pt idx="195">
                  <c:v>0.40586062746000001</c:v>
                </c:pt>
                <c:pt idx="196">
                  <c:v>1.2176313012410001</c:v>
                </c:pt>
                <c:pt idx="197">
                  <c:v>0.40589522220699997</c:v>
                </c:pt>
                <c:pt idx="198">
                  <c:v>0</c:v>
                </c:pt>
                <c:pt idx="199">
                  <c:v>1.217789468556</c:v>
                </c:pt>
                <c:pt idx="200">
                  <c:v>0.40594630142299998</c:v>
                </c:pt>
                <c:pt idx="201">
                  <c:v>0.40596442939600003</c:v>
                </c:pt>
                <c:pt idx="202">
                  <c:v>0.81196511797799997</c:v>
                </c:pt>
                <c:pt idx="203">
                  <c:v>1.624002760804</c:v>
                </c:pt>
                <c:pt idx="204">
                  <c:v>1.2180564690969999</c:v>
                </c:pt>
                <c:pt idx="205">
                  <c:v>1.6241412353210001</c:v>
                </c:pt>
                <c:pt idx="206">
                  <c:v>0.40605344475400001</c:v>
                </c:pt>
                <c:pt idx="207">
                  <c:v>1.218209800091</c:v>
                </c:pt>
                <c:pt idx="208">
                  <c:v>0.40608807238099998</c:v>
                </c:pt>
                <c:pt idx="209">
                  <c:v>0</c:v>
                </c:pt>
                <c:pt idx="210">
                  <c:v>0.40612270591400002</c:v>
                </c:pt>
                <c:pt idx="211">
                  <c:v>2.4368352008960001</c:v>
                </c:pt>
                <c:pt idx="212">
                  <c:v>2.0305145730029999</c:v>
                </c:pt>
                <c:pt idx="213">
                  <c:v>1.6242665421389999</c:v>
                </c:pt>
                <c:pt idx="214">
                  <c:v>3.2482429036039999</c:v>
                </c:pt>
                <c:pt idx="215">
                  <c:v>1.623976387383</c:v>
                </c:pt>
                <c:pt idx="216">
                  <c:v>0.81191567443799995</c:v>
                </c:pt>
                <c:pt idx="217">
                  <c:v>1.2177647522049999</c:v>
                </c:pt>
                <c:pt idx="218">
                  <c:v>2.8411858297879999</c:v>
                </c:pt>
                <c:pt idx="219">
                  <c:v>0.40584745006</c:v>
                </c:pt>
                <c:pt idx="220">
                  <c:v>1.6232514538239999</c:v>
                </c:pt>
                <c:pt idx="221">
                  <c:v>1.623106544771</c:v>
                </c:pt>
                <c:pt idx="222">
                  <c:v>1.2172212461909999</c:v>
                </c:pt>
                <c:pt idx="223">
                  <c:v>1.217112603201</c:v>
                </c:pt>
                <c:pt idx="224">
                  <c:v>2.839664432797</c:v>
                </c:pt>
                <c:pt idx="225">
                  <c:v>2.4337808785939998</c:v>
                </c:pt>
                <c:pt idx="226">
                  <c:v>2.0279779842710002</c:v>
                </c:pt>
                <c:pt idx="227">
                  <c:v>4.4611534920690001</c:v>
                </c:pt>
                <c:pt idx="228">
                  <c:v>1.216579546053</c:v>
                </c:pt>
                <c:pt idx="229">
                  <c:v>1.216471017578</c:v>
                </c:pt>
                <c:pt idx="230">
                  <c:v>1.621810102255</c:v>
                </c:pt>
                <c:pt idx="231">
                  <c:v>3.2466214845170001</c:v>
                </c:pt>
                <c:pt idx="232">
                  <c:v>4.062629496315</c:v>
                </c:pt>
                <c:pt idx="233">
                  <c:v>3.253288871718</c:v>
                </c:pt>
                <c:pt idx="234">
                  <c:v>3.257992262268</c:v>
                </c:pt>
                <c:pt idx="235">
                  <c:v>2.8537881999930002</c:v>
                </c:pt>
                <c:pt idx="236">
                  <c:v>1.6308956879109999</c:v>
                </c:pt>
                <c:pt idx="237">
                  <c:v>1.631081896622</c:v>
                </c:pt>
                <c:pt idx="238">
                  <c:v>4.9026016472740004</c:v>
                </c:pt>
                <c:pt idx="239">
                  <c:v>4.0857016784060001</c:v>
                </c:pt>
                <c:pt idx="240">
                  <c:v>4.0979911647309999</c:v>
                </c:pt>
                <c:pt idx="241">
                  <c:v>7.3985778289280004</c:v>
                </c:pt>
                <c:pt idx="242">
                  <c:v>1.653678400892</c:v>
                </c:pt>
                <c:pt idx="243">
                  <c:v>2.8946671959770001</c:v>
                </c:pt>
                <c:pt idx="244">
                  <c:v>4.1359913971370004</c:v>
                </c:pt>
                <c:pt idx="245">
                  <c:v>4.1531688678460004</c:v>
                </c:pt>
                <c:pt idx="246">
                  <c:v>5.0069680305090003</c:v>
                </c:pt>
                <c:pt idx="247">
                  <c:v>5.4565220128679996</c:v>
                </c:pt>
                <c:pt idx="248">
                  <c:v>8.0170806011959996</c:v>
                </c:pt>
                <c:pt idx="249">
                  <c:v>6.8224167558550004</c:v>
                </c:pt>
                <c:pt idx="250">
                  <c:v>2.5610052799390002</c:v>
                </c:pt>
                <c:pt idx="251">
                  <c:v>2.1350641586769998</c:v>
                </c:pt>
                <c:pt idx="252">
                  <c:v>9.4425869254499997</c:v>
                </c:pt>
                <c:pt idx="253">
                  <c:v>14.246551686921</c:v>
                </c:pt>
                <c:pt idx="254">
                  <c:v>13.900472616068001</c:v>
                </c:pt>
                <c:pt idx="255">
                  <c:v>10.062562891018</c:v>
                </c:pt>
                <c:pt idx="256">
                  <c:v>11.044451709239</c:v>
                </c:pt>
                <c:pt idx="257">
                  <c:v>6.1940050879320001</c:v>
                </c:pt>
                <c:pt idx="258">
                  <c:v>7.0840343575659999</c:v>
                </c:pt>
                <c:pt idx="259">
                  <c:v>17.819753196417999</c:v>
                </c:pt>
                <c:pt idx="260">
                  <c:v>25.114022145185</c:v>
                </c:pt>
                <c:pt idx="261">
                  <c:v>19.898607549712001</c:v>
                </c:pt>
                <c:pt idx="262">
                  <c:v>29.239231739186</c:v>
                </c:pt>
                <c:pt idx="263">
                  <c:v>25.47947743908</c:v>
                </c:pt>
                <c:pt idx="264">
                  <c:v>20.427112349116999</c:v>
                </c:pt>
                <c:pt idx="265">
                  <c:v>12.086108877246</c:v>
                </c:pt>
                <c:pt idx="266">
                  <c:v>50.182909670762001</c:v>
                </c:pt>
                <c:pt idx="267">
                  <c:v>45.928465231677997</c:v>
                </c:pt>
                <c:pt idx="268">
                  <c:v>37.477837624865998</c:v>
                </c:pt>
                <c:pt idx="269">
                  <c:v>24.067504536724002</c:v>
                </c:pt>
                <c:pt idx="270">
                  <c:v>50.086557351539</c:v>
                </c:pt>
                <c:pt idx="271">
                  <c:v>33.122260107160002</c:v>
                </c:pt>
                <c:pt idx="272">
                  <c:v>28.295857584021</c:v>
                </c:pt>
                <c:pt idx="273">
                  <c:v>85.092568910224003</c:v>
                </c:pt>
                <c:pt idx="274">
                  <c:v>70.019317386143996</c:v>
                </c:pt>
                <c:pt idx="275">
                  <c:v>66.300007534090994</c:v>
                </c:pt>
                <c:pt idx="276">
                  <c:v>70.342127798392994</c:v>
                </c:pt>
                <c:pt idx="277">
                  <c:v>84.183832546923995</c:v>
                </c:pt>
                <c:pt idx="278">
                  <c:v>47.943634961332002</c:v>
                </c:pt>
                <c:pt idx="279">
                  <c:v>29.229845760366999</c:v>
                </c:pt>
                <c:pt idx="280">
                  <c:v>95.317338276493999</c:v>
                </c:pt>
                <c:pt idx="281">
                  <c:v>101.567111399445</c:v>
                </c:pt>
                <c:pt idx="282">
                  <c:v>108.123228204562</c:v>
                </c:pt>
                <c:pt idx="283">
                  <c:v>73.986225505663</c:v>
                </c:pt>
                <c:pt idx="284">
                  <c:v>103.098497865971</c:v>
                </c:pt>
                <c:pt idx="285">
                  <c:v>77.769136762580999</c:v>
                </c:pt>
                <c:pt idx="286">
                  <c:v>43.389015903743001</c:v>
                </c:pt>
                <c:pt idx="287">
                  <c:v>105.474579504269</c:v>
                </c:pt>
                <c:pt idx="288">
                  <c:v>137.61572231194401</c:v>
                </c:pt>
                <c:pt idx="289">
                  <c:v>90.603969479567994</c:v>
                </c:pt>
                <c:pt idx="290">
                  <c:v>120.369517139697</c:v>
                </c:pt>
                <c:pt idx="291">
                  <c:v>144.02894630530599</c:v>
                </c:pt>
                <c:pt idx="292">
                  <c:v>94.546266009736001</c:v>
                </c:pt>
                <c:pt idx="293">
                  <c:v>65.270696985198995</c:v>
                </c:pt>
                <c:pt idx="294">
                  <c:v>142.39351634855501</c:v>
                </c:pt>
                <c:pt idx="295">
                  <c:v>161.35998272428401</c:v>
                </c:pt>
                <c:pt idx="296">
                  <c:v>112.771697941613</c:v>
                </c:pt>
                <c:pt idx="297">
                  <c:v>163.19719251747</c:v>
                </c:pt>
                <c:pt idx="298">
                  <c:v>128.43404441938401</c:v>
                </c:pt>
                <c:pt idx="299">
                  <c:v>88.008247630062996</c:v>
                </c:pt>
                <c:pt idx="300">
                  <c:v>71.865347033977997</c:v>
                </c:pt>
                <c:pt idx="301">
                  <c:v>151.59042559967301</c:v>
                </c:pt>
                <c:pt idx="302">
                  <c:v>121.733641639346</c:v>
                </c:pt>
                <c:pt idx="303">
                  <c:v>123.083736014691</c:v>
                </c:pt>
                <c:pt idx="304">
                  <c:v>99.011861621022007</c:v>
                </c:pt>
                <c:pt idx="305">
                  <c:v>121.064556491156</c:v>
                </c:pt>
                <c:pt idx="306">
                  <c:v>71.285031501193998</c:v>
                </c:pt>
                <c:pt idx="307">
                  <c:v>51.723199215984998</c:v>
                </c:pt>
                <c:pt idx="308">
                  <c:v>140.995219918153</c:v>
                </c:pt>
                <c:pt idx="309">
                  <c:v>121.10076418758</c:v>
                </c:pt>
                <c:pt idx="310">
                  <c:v>97.326346524108999</c:v>
                </c:pt>
                <c:pt idx="311">
                  <c:v>90.792756596771994</c:v>
                </c:pt>
                <c:pt idx="312">
                  <c:v>85.498816170237006</c:v>
                </c:pt>
                <c:pt idx="313">
                  <c:v>65.344121231699006</c:v>
                </c:pt>
                <c:pt idx="314">
                  <c:v>56.698525838328003</c:v>
                </c:pt>
                <c:pt idx="315">
                  <c:v>79.563368133012006</c:v>
                </c:pt>
                <c:pt idx="316">
                  <c:v>104.440604102487</c:v>
                </c:pt>
                <c:pt idx="317">
                  <c:v>60.037694552528997</c:v>
                </c:pt>
                <c:pt idx="318">
                  <c:v>56.227374258645</c:v>
                </c:pt>
                <c:pt idx="319">
                  <c:v>61.965644364262999</c:v>
                </c:pt>
                <c:pt idx="320">
                  <c:v>44.872349972839999</c:v>
                </c:pt>
                <c:pt idx="321">
                  <c:v>32.364247768049999</c:v>
                </c:pt>
                <c:pt idx="322">
                  <c:v>80.539053466767001</c:v>
                </c:pt>
                <c:pt idx="323">
                  <c:v>76.520338300443001</c:v>
                </c:pt>
                <c:pt idx="324">
                  <c:v>39.818945691833001</c:v>
                </c:pt>
                <c:pt idx="325">
                  <c:v>62.803823692538003</c:v>
                </c:pt>
                <c:pt idx="326">
                  <c:v>20.394677804880001</c:v>
                </c:pt>
                <c:pt idx="327">
                  <c:v>13.870417662753001</c:v>
                </c:pt>
                <c:pt idx="328">
                  <c:v>19.587519485501002</c:v>
                </c:pt>
                <c:pt idx="329">
                  <c:v>70.732409425504002</c:v>
                </c:pt>
                <c:pt idx="330">
                  <c:v>78.798938287989003</c:v>
                </c:pt>
                <c:pt idx="331">
                  <c:v>33.486253892777</c:v>
                </c:pt>
                <c:pt idx="332">
                  <c:v>59.901457883368998</c:v>
                </c:pt>
                <c:pt idx="333">
                  <c:v>48.178514073197</c:v>
                </c:pt>
                <c:pt idx="334">
                  <c:v>14.379604645458</c:v>
                </c:pt>
                <c:pt idx="335">
                  <c:v>29.6662965443</c:v>
                </c:pt>
                <c:pt idx="336">
                  <c:v>93.240492036063998</c:v>
                </c:pt>
                <c:pt idx="337">
                  <c:v>76.135105204872005</c:v>
                </c:pt>
                <c:pt idx="338">
                  <c:v>54.279310827846999</c:v>
                </c:pt>
                <c:pt idx="339">
                  <c:v>48.826391108270002</c:v>
                </c:pt>
                <c:pt idx="340">
                  <c:v>57.247226235585003</c:v>
                </c:pt>
                <c:pt idx="341">
                  <c:v>33.770216494468002</c:v>
                </c:pt>
                <c:pt idx="342">
                  <c:v>21.048585626561</c:v>
                </c:pt>
                <c:pt idx="343">
                  <c:v>54.512024983137998</c:v>
                </c:pt>
                <c:pt idx="344">
                  <c:v>92.427481771245994</c:v>
                </c:pt>
                <c:pt idx="345">
                  <c:v>113.374400060466</c:v>
                </c:pt>
                <c:pt idx="346">
                  <c:v>87.908727807822999</c:v>
                </c:pt>
                <c:pt idx="347">
                  <c:v>87.390519099683004</c:v>
                </c:pt>
                <c:pt idx="348">
                  <c:v>82.850041425019995</c:v>
                </c:pt>
                <c:pt idx="349">
                  <c:v>55.685814771395002</c:v>
                </c:pt>
                <c:pt idx="350">
                  <c:v>191.86870277078</c:v>
                </c:pt>
                <c:pt idx="351">
                  <c:v>214.113658667142</c:v>
                </c:pt>
                <c:pt idx="352">
                  <c:v>251.785981915371</c:v>
                </c:pt>
                <c:pt idx="353">
                  <c:v>244.74503207872101</c:v>
                </c:pt>
                <c:pt idx="354">
                  <c:v>200.48849989822901</c:v>
                </c:pt>
                <c:pt idx="355">
                  <c:v>139.70753196957</c:v>
                </c:pt>
                <c:pt idx="356">
                  <c:v>156.27713144643101</c:v>
                </c:pt>
                <c:pt idx="357">
                  <c:v>298.30173735046299</c:v>
                </c:pt>
                <c:pt idx="358">
                  <c:v>278.36129018905802</c:v>
                </c:pt>
                <c:pt idx="359">
                  <c:v>333.48618116636698</c:v>
                </c:pt>
                <c:pt idx="360">
                  <c:v>589.76000335806395</c:v>
                </c:pt>
                <c:pt idx="361">
                  <c:v>428.638119085006</c:v>
                </c:pt>
                <c:pt idx="362">
                  <c:v>160.56997022543499</c:v>
                </c:pt>
                <c:pt idx="363">
                  <c:v>217.25008253373201</c:v>
                </c:pt>
                <c:pt idx="364">
                  <c:v>401.65374234180098</c:v>
                </c:pt>
                <c:pt idx="365">
                  <c:v>498.94082604815202</c:v>
                </c:pt>
                <c:pt idx="366">
                  <c:v>373.47264798583802</c:v>
                </c:pt>
                <c:pt idx="367">
                  <c:v>366.16544611517901</c:v>
                </c:pt>
                <c:pt idx="368">
                  <c:v>293.07621070981003</c:v>
                </c:pt>
                <c:pt idx="369">
                  <c:v>208.265183731327</c:v>
                </c:pt>
                <c:pt idx="370">
                  <c:v>127.638684339715</c:v>
                </c:pt>
                <c:pt idx="371">
                  <c:v>390.37298662671799</c:v>
                </c:pt>
                <c:pt idx="372">
                  <c:v>331.26021477069497</c:v>
                </c:pt>
                <c:pt idx="373">
                  <c:v>280.51879475924801</c:v>
                </c:pt>
                <c:pt idx="374">
                  <c:v>244.94389460792399</c:v>
                </c:pt>
                <c:pt idx="375">
                  <c:v>243.964647304745</c:v>
                </c:pt>
                <c:pt idx="376">
                  <c:v>130.92781217406699</c:v>
                </c:pt>
                <c:pt idx="377">
                  <c:v>114.347884009059</c:v>
                </c:pt>
                <c:pt idx="378">
                  <c:v>255.942312828273</c:v>
                </c:pt>
                <c:pt idx="379">
                  <c:v>225.20262662073401</c:v>
                </c:pt>
                <c:pt idx="380">
                  <c:v>160.868690931027</c:v>
                </c:pt>
                <c:pt idx="381">
                  <c:v>190.38659678358599</c:v>
                </c:pt>
                <c:pt idx="382">
                  <c:v>145.01714349952201</c:v>
                </c:pt>
                <c:pt idx="383">
                  <c:v>82.109193980157997</c:v>
                </c:pt>
                <c:pt idx="384">
                  <c:v>48.380926663516</c:v>
                </c:pt>
                <c:pt idx="385">
                  <c:v>181.430937919066</c:v>
                </c:pt>
                <c:pt idx="386">
                  <c:v>132.04672422549501</c:v>
                </c:pt>
                <c:pt idx="387">
                  <c:v>99.486738869920998</c:v>
                </c:pt>
                <c:pt idx="388">
                  <c:v>115.537532707316</c:v>
                </c:pt>
                <c:pt idx="389">
                  <c:v>92.047546535148001</c:v>
                </c:pt>
                <c:pt idx="390">
                  <c:v>64.802919542059001</c:v>
                </c:pt>
                <c:pt idx="391">
                  <c:v>46.625878499782999</c:v>
                </c:pt>
                <c:pt idx="392">
                  <c:v>163.93815888339799</c:v>
                </c:pt>
                <c:pt idx="393">
                  <c:v>118.522570572213</c:v>
                </c:pt>
                <c:pt idx="394">
                  <c:v>101.5390583108</c:v>
                </c:pt>
                <c:pt idx="395">
                  <c:v>101.651552184937</c:v>
                </c:pt>
                <c:pt idx="396">
                  <c:v>101.83532427113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1A0B-4754-90A8-6FC4E50C7F8C}"/>
            </c:ext>
          </c:extLst>
        </c:ser>
        <c:ser>
          <c:idx val="2"/>
          <c:order val="2"/>
          <c:tx>
            <c:strRef>
              <c:f>List1!$D$1</c:f>
              <c:strCache>
                <c:ptCount val="1"/>
                <c:pt idx="0">
                  <c:v>Ukončené očkování - s posilující dávkou</c:v>
                </c:pt>
              </c:strCache>
            </c:strRef>
          </c:tx>
          <c:spPr>
            <a:ln w="28575" cap="rnd">
              <a:solidFill>
                <a:schemeClr val="bg1"/>
              </a:solidFill>
              <a:round/>
            </a:ln>
            <a:effectLst/>
          </c:spPr>
          <c:marker>
            <c:symbol val="none"/>
          </c:marker>
          <c:trendline>
            <c:spPr>
              <a:ln w="28575" cap="rnd" cmpd="sng">
                <a:solidFill>
                  <a:srgbClr val="70AD47"/>
                </a:solidFill>
                <a:prstDash val="solid"/>
              </a:ln>
              <a:effectLst/>
            </c:spPr>
            <c:trendlineType val="movingAvg"/>
            <c:period val="7"/>
            <c:dispRSqr val="0"/>
            <c:dispEq val="0"/>
          </c:trendline>
          <c:cat>
            <c:numRef>
              <c:f>List1!$A$2:$A$398</c:f>
              <c:numCache>
                <c:formatCode>m/d/yyyy</c:formatCode>
                <c:ptCount val="397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  <c:pt idx="96">
                  <c:v>44324</c:v>
                </c:pt>
                <c:pt idx="97">
                  <c:v>44325</c:v>
                </c:pt>
                <c:pt idx="98">
                  <c:v>44326</c:v>
                </c:pt>
                <c:pt idx="99">
                  <c:v>44327</c:v>
                </c:pt>
                <c:pt idx="100">
                  <c:v>44328</c:v>
                </c:pt>
                <c:pt idx="101">
                  <c:v>44329</c:v>
                </c:pt>
                <c:pt idx="102">
                  <c:v>44330</c:v>
                </c:pt>
                <c:pt idx="103">
                  <c:v>44331</c:v>
                </c:pt>
                <c:pt idx="104">
                  <c:v>44332</c:v>
                </c:pt>
                <c:pt idx="105">
                  <c:v>44333</c:v>
                </c:pt>
                <c:pt idx="106">
                  <c:v>44334</c:v>
                </c:pt>
                <c:pt idx="107">
                  <c:v>44335</c:v>
                </c:pt>
                <c:pt idx="108">
                  <c:v>44336</c:v>
                </c:pt>
                <c:pt idx="109">
                  <c:v>44337</c:v>
                </c:pt>
                <c:pt idx="110">
                  <c:v>44338</c:v>
                </c:pt>
                <c:pt idx="111">
                  <c:v>44339</c:v>
                </c:pt>
                <c:pt idx="112">
                  <c:v>44340</c:v>
                </c:pt>
                <c:pt idx="113">
                  <c:v>44341</c:v>
                </c:pt>
                <c:pt idx="114">
                  <c:v>44342</c:v>
                </c:pt>
                <c:pt idx="115">
                  <c:v>44343</c:v>
                </c:pt>
                <c:pt idx="116">
                  <c:v>44344</c:v>
                </c:pt>
                <c:pt idx="117">
                  <c:v>44345</c:v>
                </c:pt>
                <c:pt idx="118">
                  <c:v>44346</c:v>
                </c:pt>
                <c:pt idx="119">
                  <c:v>44347</c:v>
                </c:pt>
                <c:pt idx="120">
                  <c:v>44348</c:v>
                </c:pt>
                <c:pt idx="121">
                  <c:v>44349</c:v>
                </c:pt>
                <c:pt idx="122">
                  <c:v>44350</c:v>
                </c:pt>
                <c:pt idx="123">
                  <c:v>44351</c:v>
                </c:pt>
                <c:pt idx="124">
                  <c:v>44352</c:v>
                </c:pt>
                <c:pt idx="125">
                  <c:v>44353</c:v>
                </c:pt>
                <c:pt idx="126">
                  <c:v>44354</c:v>
                </c:pt>
                <c:pt idx="127">
                  <c:v>44355</c:v>
                </c:pt>
                <c:pt idx="128">
                  <c:v>44356</c:v>
                </c:pt>
                <c:pt idx="129">
                  <c:v>44357</c:v>
                </c:pt>
                <c:pt idx="130">
                  <c:v>44358</c:v>
                </c:pt>
                <c:pt idx="131">
                  <c:v>44359</c:v>
                </c:pt>
                <c:pt idx="132">
                  <c:v>44360</c:v>
                </c:pt>
                <c:pt idx="133">
                  <c:v>44361</c:v>
                </c:pt>
                <c:pt idx="134">
                  <c:v>44362</c:v>
                </c:pt>
                <c:pt idx="135">
                  <c:v>44363</c:v>
                </c:pt>
                <c:pt idx="136">
                  <c:v>44364</c:v>
                </c:pt>
                <c:pt idx="137">
                  <c:v>44365</c:v>
                </c:pt>
                <c:pt idx="138">
                  <c:v>44366</c:v>
                </c:pt>
                <c:pt idx="139">
                  <c:v>44367</c:v>
                </c:pt>
                <c:pt idx="140">
                  <c:v>44368</c:v>
                </c:pt>
                <c:pt idx="141">
                  <c:v>44369</c:v>
                </c:pt>
                <c:pt idx="142">
                  <c:v>44370</c:v>
                </c:pt>
                <c:pt idx="143">
                  <c:v>44371</c:v>
                </c:pt>
                <c:pt idx="144">
                  <c:v>44372</c:v>
                </c:pt>
                <c:pt idx="145">
                  <c:v>44373</c:v>
                </c:pt>
                <c:pt idx="146">
                  <c:v>44374</c:v>
                </c:pt>
                <c:pt idx="147">
                  <c:v>44375</c:v>
                </c:pt>
                <c:pt idx="148">
                  <c:v>44376</c:v>
                </c:pt>
                <c:pt idx="149">
                  <c:v>44377</c:v>
                </c:pt>
                <c:pt idx="150">
                  <c:v>44378</c:v>
                </c:pt>
                <c:pt idx="151">
                  <c:v>44379</c:v>
                </c:pt>
                <c:pt idx="152">
                  <c:v>44380</c:v>
                </c:pt>
                <c:pt idx="153">
                  <c:v>44381</c:v>
                </c:pt>
                <c:pt idx="154">
                  <c:v>44382</c:v>
                </c:pt>
                <c:pt idx="155">
                  <c:v>44383</c:v>
                </c:pt>
                <c:pt idx="156">
                  <c:v>44384</c:v>
                </c:pt>
                <c:pt idx="157">
                  <c:v>44385</c:v>
                </c:pt>
                <c:pt idx="158">
                  <c:v>44386</c:v>
                </c:pt>
                <c:pt idx="159">
                  <c:v>44387</c:v>
                </c:pt>
                <c:pt idx="160">
                  <c:v>44388</c:v>
                </c:pt>
                <c:pt idx="161">
                  <c:v>44389</c:v>
                </c:pt>
                <c:pt idx="162">
                  <c:v>44390</c:v>
                </c:pt>
                <c:pt idx="163">
                  <c:v>44391</c:v>
                </c:pt>
                <c:pt idx="164">
                  <c:v>44392</c:v>
                </c:pt>
                <c:pt idx="165">
                  <c:v>44393</c:v>
                </c:pt>
                <c:pt idx="166">
                  <c:v>44394</c:v>
                </c:pt>
                <c:pt idx="167">
                  <c:v>44395</c:v>
                </c:pt>
                <c:pt idx="168">
                  <c:v>44396</c:v>
                </c:pt>
                <c:pt idx="169">
                  <c:v>44397</c:v>
                </c:pt>
                <c:pt idx="170">
                  <c:v>44398</c:v>
                </c:pt>
                <c:pt idx="171">
                  <c:v>44399</c:v>
                </c:pt>
                <c:pt idx="172">
                  <c:v>44400</c:v>
                </c:pt>
                <c:pt idx="173">
                  <c:v>44401</c:v>
                </c:pt>
                <c:pt idx="174">
                  <c:v>44402</c:v>
                </c:pt>
                <c:pt idx="175">
                  <c:v>44403</c:v>
                </c:pt>
                <c:pt idx="176">
                  <c:v>44404</c:v>
                </c:pt>
                <c:pt idx="177">
                  <c:v>44405</c:v>
                </c:pt>
                <c:pt idx="178">
                  <c:v>44406</c:v>
                </c:pt>
                <c:pt idx="179">
                  <c:v>44407</c:v>
                </c:pt>
                <c:pt idx="180">
                  <c:v>44408</c:v>
                </c:pt>
                <c:pt idx="181">
                  <c:v>44409</c:v>
                </c:pt>
                <c:pt idx="182">
                  <c:v>44410</c:v>
                </c:pt>
                <c:pt idx="183">
                  <c:v>44411</c:v>
                </c:pt>
                <c:pt idx="184">
                  <c:v>44412</c:v>
                </c:pt>
                <c:pt idx="185">
                  <c:v>44413</c:v>
                </c:pt>
                <c:pt idx="186">
                  <c:v>44414</c:v>
                </c:pt>
                <c:pt idx="187">
                  <c:v>44415</c:v>
                </c:pt>
                <c:pt idx="188">
                  <c:v>44416</c:v>
                </c:pt>
                <c:pt idx="189">
                  <c:v>44417</c:v>
                </c:pt>
                <c:pt idx="190">
                  <c:v>44418</c:v>
                </c:pt>
                <c:pt idx="191">
                  <c:v>44419</c:v>
                </c:pt>
                <c:pt idx="192">
                  <c:v>44420</c:v>
                </c:pt>
                <c:pt idx="193">
                  <c:v>44421</c:v>
                </c:pt>
                <c:pt idx="194">
                  <c:v>44422</c:v>
                </c:pt>
                <c:pt idx="195">
                  <c:v>44423</c:v>
                </c:pt>
                <c:pt idx="196">
                  <c:v>44424</c:v>
                </c:pt>
                <c:pt idx="197">
                  <c:v>44425</c:v>
                </c:pt>
                <c:pt idx="198">
                  <c:v>44426</c:v>
                </c:pt>
                <c:pt idx="199">
                  <c:v>44427</c:v>
                </c:pt>
                <c:pt idx="200">
                  <c:v>44428</c:v>
                </c:pt>
                <c:pt idx="201">
                  <c:v>44429</c:v>
                </c:pt>
                <c:pt idx="202">
                  <c:v>44430</c:v>
                </c:pt>
                <c:pt idx="203">
                  <c:v>44431</c:v>
                </c:pt>
                <c:pt idx="204">
                  <c:v>44432</c:v>
                </c:pt>
                <c:pt idx="205">
                  <c:v>44433</c:v>
                </c:pt>
                <c:pt idx="206">
                  <c:v>44434</c:v>
                </c:pt>
                <c:pt idx="207">
                  <c:v>44435</c:v>
                </c:pt>
                <c:pt idx="208">
                  <c:v>44436</c:v>
                </c:pt>
                <c:pt idx="209">
                  <c:v>44437</c:v>
                </c:pt>
                <c:pt idx="210">
                  <c:v>44438</c:v>
                </c:pt>
                <c:pt idx="211">
                  <c:v>44439</c:v>
                </c:pt>
                <c:pt idx="212">
                  <c:v>44440</c:v>
                </c:pt>
                <c:pt idx="213">
                  <c:v>44441</c:v>
                </c:pt>
                <c:pt idx="214">
                  <c:v>44442</c:v>
                </c:pt>
                <c:pt idx="215">
                  <c:v>44443</c:v>
                </c:pt>
                <c:pt idx="216">
                  <c:v>44444</c:v>
                </c:pt>
                <c:pt idx="217">
                  <c:v>44445</c:v>
                </c:pt>
                <c:pt idx="218">
                  <c:v>44446</c:v>
                </c:pt>
                <c:pt idx="219">
                  <c:v>44447</c:v>
                </c:pt>
                <c:pt idx="220">
                  <c:v>44448</c:v>
                </c:pt>
                <c:pt idx="221">
                  <c:v>44449</c:v>
                </c:pt>
                <c:pt idx="222">
                  <c:v>44450</c:v>
                </c:pt>
                <c:pt idx="223">
                  <c:v>44451</c:v>
                </c:pt>
                <c:pt idx="224">
                  <c:v>44452</c:v>
                </c:pt>
                <c:pt idx="225">
                  <c:v>44453</c:v>
                </c:pt>
                <c:pt idx="226">
                  <c:v>44454</c:v>
                </c:pt>
                <c:pt idx="227">
                  <c:v>44455</c:v>
                </c:pt>
                <c:pt idx="228">
                  <c:v>44456</c:v>
                </c:pt>
                <c:pt idx="229">
                  <c:v>44457</c:v>
                </c:pt>
                <c:pt idx="230">
                  <c:v>44458</c:v>
                </c:pt>
                <c:pt idx="231">
                  <c:v>44459</c:v>
                </c:pt>
                <c:pt idx="232">
                  <c:v>44460</c:v>
                </c:pt>
                <c:pt idx="233">
                  <c:v>44461</c:v>
                </c:pt>
                <c:pt idx="234">
                  <c:v>44462</c:v>
                </c:pt>
                <c:pt idx="235">
                  <c:v>44463</c:v>
                </c:pt>
                <c:pt idx="236">
                  <c:v>44464</c:v>
                </c:pt>
                <c:pt idx="237">
                  <c:v>44465</c:v>
                </c:pt>
                <c:pt idx="238">
                  <c:v>44466</c:v>
                </c:pt>
                <c:pt idx="239">
                  <c:v>44467</c:v>
                </c:pt>
                <c:pt idx="240">
                  <c:v>44468</c:v>
                </c:pt>
                <c:pt idx="241">
                  <c:v>44469</c:v>
                </c:pt>
                <c:pt idx="242">
                  <c:v>44470</c:v>
                </c:pt>
                <c:pt idx="243">
                  <c:v>44471</c:v>
                </c:pt>
                <c:pt idx="244">
                  <c:v>44472</c:v>
                </c:pt>
                <c:pt idx="245">
                  <c:v>44473</c:v>
                </c:pt>
                <c:pt idx="246">
                  <c:v>44474</c:v>
                </c:pt>
                <c:pt idx="247">
                  <c:v>44475</c:v>
                </c:pt>
                <c:pt idx="248">
                  <c:v>44476</c:v>
                </c:pt>
                <c:pt idx="249">
                  <c:v>44477</c:v>
                </c:pt>
                <c:pt idx="250">
                  <c:v>44478</c:v>
                </c:pt>
                <c:pt idx="251">
                  <c:v>44479</c:v>
                </c:pt>
                <c:pt idx="252">
                  <c:v>44480</c:v>
                </c:pt>
                <c:pt idx="253">
                  <c:v>44481</c:v>
                </c:pt>
                <c:pt idx="254">
                  <c:v>44482</c:v>
                </c:pt>
                <c:pt idx="255">
                  <c:v>44483</c:v>
                </c:pt>
                <c:pt idx="256">
                  <c:v>44484</c:v>
                </c:pt>
                <c:pt idx="257">
                  <c:v>44485</c:v>
                </c:pt>
                <c:pt idx="258">
                  <c:v>44486</c:v>
                </c:pt>
                <c:pt idx="259">
                  <c:v>44487</c:v>
                </c:pt>
                <c:pt idx="260">
                  <c:v>44488</c:v>
                </c:pt>
                <c:pt idx="261">
                  <c:v>44489</c:v>
                </c:pt>
                <c:pt idx="262">
                  <c:v>44490</c:v>
                </c:pt>
                <c:pt idx="263">
                  <c:v>44491</c:v>
                </c:pt>
                <c:pt idx="264">
                  <c:v>44492</c:v>
                </c:pt>
                <c:pt idx="265">
                  <c:v>44493</c:v>
                </c:pt>
                <c:pt idx="266">
                  <c:v>44494</c:v>
                </c:pt>
                <c:pt idx="267">
                  <c:v>44495</c:v>
                </c:pt>
                <c:pt idx="268">
                  <c:v>44496</c:v>
                </c:pt>
                <c:pt idx="269">
                  <c:v>44497</c:v>
                </c:pt>
                <c:pt idx="270">
                  <c:v>44498</c:v>
                </c:pt>
                <c:pt idx="271">
                  <c:v>44499</c:v>
                </c:pt>
                <c:pt idx="272">
                  <c:v>44500</c:v>
                </c:pt>
                <c:pt idx="273">
                  <c:v>44501</c:v>
                </c:pt>
                <c:pt idx="274">
                  <c:v>44502</c:v>
                </c:pt>
                <c:pt idx="275">
                  <c:v>44503</c:v>
                </c:pt>
                <c:pt idx="276">
                  <c:v>44504</c:v>
                </c:pt>
                <c:pt idx="277">
                  <c:v>44505</c:v>
                </c:pt>
                <c:pt idx="278">
                  <c:v>44506</c:v>
                </c:pt>
                <c:pt idx="279">
                  <c:v>44507</c:v>
                </c:pt>
                <c:pt idx="280">
                  <c:v>44508</c:v>
                </c:pt>
                <c:pt idx="281">
                  <c:v>44509</c:v>
                </c:pt>
                <c:pt idx="282">
                  <c:v>44510</c:v>
                </c:pt>
                <c:pt idx="283">
                  <c:v>44511</c:v>
                </c:pt>
                <c:pt idx="284">
                  <c:v>44512</c:v>
                </c:pt>
                <c:pt idx="285">
                  <c:v>44513</c:v>
                </c:pt>
                <c:pt idx="286">
                  <c:v>44514</c:v>
                </c:pt>
                <c:pt idx="287">
                  <c:v>44515</c:v>
                </c:pt>
                <c:pt idx="288">
                  <c:v>44516</c:v>
                </c:pt>
                <c:pt idx="289">
                  <c:v>44517</c:v>
                </c:pt>
                <c:pt idx="290">
                  <c:v>44518</c:v>
                </c:pt>
                <c:pt idx="291">
                  <c:v>44519</c:v>
                </c:pt>
                <c:pt idx="292">
                  <c:v>44520</c:v>
                </c:pt>
                <c:pt idx="293">
                  <c:v>44521</c:v>
                </c:pt>
                <c:pt idx="294">
                  <c:v>44522</c:v>
                </c:pt>
                <c:pt idx="295">
                  <c:v>44523</c:v>
                </c:pt>
                <c:pt idx="296">
                  <c:v>44524</c:v>
                </c:pt>
                <c:pt idx="297">
                  <c:v>44525</c:v>
                </c:pt>
                <c:pt idx="298">
                  <c:v>44526</c:v>
                </c:pt>
                <c:pt idx="299">
                  <c:v>44527</c:v>
                </c:pt>
                <c:pt idx="300">
                  <c:v>44528</c:v>
                </c:pt>
                <c:pt idx="301">
                  <c:v>44529</c:v>
                </c:pt>
                <c:pt idx="302">
                  <c:v>44530</c:v>
                </c:pt>
                <c:pt idx="303">
                  <c:v>44531</c:v>
                </c:pt>
                <c:pt idx="304">
                  <c:v>44532</c:v>
                </c:pt>
                <c:pt idx="305">
                  <c:v>44533</c:v>
                </c:pt>
                <c:pt idx="306">
                  <c:v>44534</c:v>
                </c:pt>
                <c:pt idx="307">
                  <c:v>44535</c:v>
                </c:pt>
                <c:pt idx="308">
                  <c:v>44536</c:v>
                </c:pt>
                <c:pt idx="309">
                  <c:v>44537</c:v>
                </c:pt>
                <c:pt idx="310">
                  <c:v>44538</c:v>
                </c:pt>
                <c:pt idx="311">
                  <c:v>44539</c:v>
                </c:pt>
                <c:pt idx="312">
                  <c:v>44540</c:v>
                </c:pt>
                <c:pt idx="313">
                  <c:v>44541</c:v>
                </c:pt>
                <c:pt idx="314">
                  <c:v>44542</c:v>
                </c:pt>
                <c:pt idx="315">
                  <c:v>44543</c:v>
                </c:pt>
                <c:pt idx="316">
                  <c:v>44544</c:v>
                </c:pt>
                <c:pt idx="317">
                  <c:v>44545</c:v>
                </c:pt>
                <c:pt idx="318">
                  <c:v>44546</c:v>
                </c:pt>
                <c:pt idx="319">
                  <c:v>44547</c:v>
                </c:pt>
                <c:pt idx="320">
                  <c:v>44548</c:v>
                </c:pt>
                <c:pt idx="321">
                  <c:v>44549</c:v>
                </c:pt>
                <c:pt idx="322">
                  <c:v>44550</c:v>
                </c:pt>
                <c:pt idx="323">
                  <c:v>44551</c:v>
                </c:pt>
                <c:pt idx="324">
                  <c:v>44552</c:v>
                </c:pt>
                <c:pt idx="325">
                  <c:v>44553</c:v>
                </c:pt>
                <c:pt idx="326">
                  <c:v>44554</c:v>
                </c:pt>
                <c:pt idx="327">
                  <c:v>44555</c:v>
                </c:pt>
                <c:pt idx="328">
                  <c:v>44556</c:v>
                </c:pt>
                <c:pt idx="329">
                  <c:v>44557</c:v>
                </c:pt>
                <c:pt idx="330">
                  <c:v>44558</c:v>
                </c:pt>
                <c:pt idx="331">
                  <c:v>44559</c:v>
                </c:pt>
                <c:pt idx="332">
                  <c:v>44560</c:v>
                </c:pt>
                <c:pt idx="333">
                  <c:v>44561</c:v>
                </c:pt>
                <c:pt idx="334">
                  <c:v>44562</c:v>
                </c:pt>
                <c:pt idx="335">
                  <c:v>44563</c:v>
                </c:pt>
                <c:pt idx="336">
                  <c:v>44564</c:v>
                </c:pt>
                <c:pt idx="337">
                  <c:v>44565</c:v>
                </c:pt>
                <c:pt idx="338">
                  <c:v>44566</c:v>
                </c:pt>
                <c:pt idx="339">
                  <c:v>44567</c:v>
                </c:pt>
                <c:pt idx="340">
                  <c:v>44568</c:v>
                </c:pt>
                <c:pt idx="341">
                  <c:v>44569</c:v>
                </c:pt>
                <c:pt idx="342">
                  <c:v>44570</c:v>
                </c:pt>
                <c:pt idx="343">
                  <c:v>44571</c:v>
                </c:pt>
                <c:pt idx="344">
                  <c:v>44572</c:v>
                </c:pt>
                <c:pt idx="345">
                  <c:v>44573</c:v>
                </c:pt>
                <c:pt idx="346">
                  <c:v>44574</c:v>
                </c:pt>
                <c:pt idx="347">
                  <c:v>44575</c:v>
                </c:pt>
                <c:pt idx="348">
                  <c:v>44576</c:v>
                </c:pt>
                <c:pt idx="349">
                  <c:v>44577</c:v>
                </c:pt>
                <c:pt idx="350">
                  <c:v>44578</c:v>
                </c:pt>
                <c:pt idx="351">
                  <c:v>44579</c:v>
                </c:pt>
                <c:pt idx="352">
                  <c:v>44580</c:v>
                </c:pt>
                <c:pt idx="353">
                  <c:v>44581</c:v>
                </c:pt>
                <c:pt idx="354">
                  <c:v>44582</c:v>
                </c:pt>
                <c:pt idx="355">
                  <c:v>44583</c:v>
                </c:pt>
                <c:pt idx="356">
                  <c:v>44584</c:v>
                </c:pt>
                <c:pt idx="357">
                  <c:v>44585</c:v>
                </c:pt>
                <c:pt idx="358">
                  <c:v>44586</c:v>
                </c:pt>
                <c:pt idx="359">
                  <c:v>44587</c:v>
                </c:pt>
                <c:pt idx="360">
                  <c:v>44588</c:v>
                </c:pt>
                <c:pt idx="361">
                  <c:v>44589</c:v>
                </c:pt>
                <c:pt idx="362">
                  <c:v>44590</c:v>
                </c:pt>
                <c:pt idx="363">
                  <c:v>44591</c:v>
                </c:pt>
                <c:pt idx="364">
                  <c:v>44592</c:v>
                </c:pt>
                <c:pt idx="365">
                  <c:v>44593</c:v>
                </c:pt>
                <c:pt idx="366">
                  <c:v>44594</c:v>
                </c:pt>
                <c:pt idx="367">
                  <c:v>44595</c:v>
                </c:pt>
                <c:pt idx="368">
                  <c:v>44596</c:v>
                </c:pt>
                <c:pt idx="369">
                  <c:v>44597</c:v>
                </c:pt>
                <c:pt idx="370">
                  <c:v>44598</c:v>
                </c:pt>
                <c:pt idx="371">
                  <c:v>44599</c:v>
                </c:pt>
                <c:pt idx="372">
                  <c:v>44600</c:v>
                </c:pt>
                <c:pt idx="373">
                  <c:v>44601</c:v>
                </c:pt>
                <c:pt idx="374">
                  <c:v>44602</c:v>
                </c:pt>
                <c:pt idx="375">
                  <c:v>44603</c:v>
                </c:pt>
                <c:pt idx="376">
                  <c:v>44604</c:v>
                </c:pt>
                <c:pt idx="377">
                  <c:v>44605</c:v>
                </c:pt>
                <c:pt idx="378">
                  <c:v>44606</c:v>
                </c:pt>
                <c:pt idx="379">
                  <c:v>44607</c:v>
                </c:pt>
                <c:pt idx="380">
                  <c:v>44608</c:v>
                </c:pt>
                <c:pt idx="381">
                  <c:v>44609</c:v>
                </c:pt>
                <c:pt idx="382">
                  <c:v>44610</c:v>
                </c:pt>
                <c:pt idx="383">
                  <c:v>44611</c:v>
                </c:pt>
                <c:pt idx="384">
                  <c:v>44612</c:v>
                </c:pt>
                <c:pt idx="385">
                  <c:v>44613</c:v>
                </c:pt>
                <c:pt idx="386">
                  <c:v>44614</c:v>
                </c:pt>
                <c:pt idx="387">
                  <c:v>44615</c:v>
                </c:pt>
                <c:pt idx="388">
                  <c:v>44616</c:v>
                </c:pt>
                <c:pt idx="389">
                  <c:v>44617</c:v>
                </c:pt>
                <c:pt idx="390">
                  <c:v>44618</c:v>
                </c:pt>
                <c:pt idx="391">
                  <c:v>44619</c:v>
                </c:pt>
                <c:pt idx="392">
                  <c:v>44620</c:v>
                </c:pt>
                <c:pt idx="393">
                  <c:v>44621</c:v>
                </c:pt>
                <c:pt idx="394">
                  <c:v>44622</c:v>
                </c:pt>
                <c:pt idx="395">
                  <c:v>44623</c:v>
                </c:pt>
                <c:pt idx="396">
                  <c:v>44624</c:v>
                </c:pt>
              </c:numCache>
            </c:numRef>
          </c:cat>
          <c:val>
            <c:numRef>
              <c:f>List1!$D$2:$D$398</c:f>
              <c:numCache>
                <c:formatCode>General</c:formatCode>
                <c:ptCount val="397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  <c:pt idx="50">
                  <c:v>0</c:v>
                </c:pt>
                <c:pt idx="51">
                  <c:v>0</c:v>
                </c:pt>
                <c:pt idx="52">
                  <c:v>0</c:v>
                </c:pt>
                <c:pt idx="53">
                  <c:v>0</c:v>
                </c:pt>
                <c:pt idx="54">
                  <c:v>0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  <c:pt idx="61">
                  <c:v>0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  <c:pt idx="67">
                  <c:v>0</c:v>
                </c:pt>
                <c:pt idx="68">
                  <c:v>0</c:v>
                </c:pt>
                <c:pt idx="69">
                  <c:v>0</c:v>
                </c:pt>
                <c:pt idx="70">
                  <c:v>0</c:v>
                </c:pt>
                <c:pt idx="71">
                  <c:v>0</c:v>
                </c:pt>
                <c:pt idx="72">
                  <c:v>0</c:v>
                </c:pt>
                <c:pt idx="73">
                  <c:v>0</c:v>
                </c:pt>
                <c:pt idx="74">
                  <c:v>0</c:v>
                </c:pt>
                <c:pt idx="75">
                  <c:v>0</c:v>
                </c:pt>
                <c:pt idx="76">
                  <c:v>0</c:v>
                </c:pt>
                <c:pt idx="77">
                  <c:v>0</c:v>
                </c:pt>
                <c:pt idx="78">
                  <c:v>0</c:v>
                </c:pt>
                <c:pt idx="79">
                  <c:v>0</c:v>
                </c:pt>
                <c:pt idx="80">
                  <c:v>0</c:v>
                </c:pt>
                <c:pt idx="81">
                  <c:v>0</c:v>
                </c:pt>
                <c:pt idx="82">
                  <c:v>0</c:v>
                </c:pt>
                <c:pt idx="83">
                  <c:v>0</c:v>
                </c:pt>
                <c:pt idx="84">
                  <c:v>0</c:v>
                </c:pt>
                <c:pt idx="85">
                  <c:v>0</c:v>
                </c:pt>
                <c:pt idx="86">
                  <c:v>0</c:v>
                </c:pt>
                <c:pt idx="87">
                  <c:v>0</c:v>
                </c:pt>
                <c:pt idx="88">
                  <c:v>0</c:v>
                </c:pt>
                <c:pt idx="89">
                  <c:v>0</c:v>
                </c:pt>
                <c:pt idx="90">
                  <c:v>0</c:v>
                </c:pt>
                <c:pt idx="91">
                  <c:v>0</c:v>
                </c:pt>
                <c:pt idx="92">
                  <c:v>0</c:v>
                </c:pt>
                <c:pt idx="93">
                  <c:v>0</c:v>
                </c:pt>
                <c:pt idx="94">
                  <c:v>0</c:v>
                </c:pt>
                <c:pt idx="95">
                  <c:v>0</c:v>
                </c:pt>
                <c:pt idx="96">
                  <c:v>0</c:v>
                </c:pt>
                <c:pt idx="97">
                  <c:v>0</c:v>
                </c:pt>
                <c:pt idx="98">
                  <c:v>0</c:v>
                </c:pt>
                <c:pt idx="99">
                  <c:v>0</c:v>
                </c:pt>
                <c:pt idx="100">
                  <c:v>0</c:v>
                </c:pt>
                <c:pt idx="101">
                  <c:v>0</c:v>
                </c:pt>
                <c:pt idx="102">
                  <c:v>0</c:v>
                </c:pt>
                <c:pt idx="103">
                  <c:v>0</c:v>
                </c:pt>
                <c:pt idx="104">
                  <c:v>0</c:v>
                </c:pt>
                <c:pt idx="105">
                  <c:v>0</c:v>
                </c:pt>
                <c:pt idx="106">
                  <c:v>0</c:v>
                </c:pt>
                <c:pt idx="107">
                  <c:v>0</c:v>
                </c:pt>
                <c:pt idx="108">
                  <c:v>0</c:v>
                </c:pt>
                <c:pt idx="109">
                  <c:v>0</c:v>
                </c:pt>
                <c:pt idx="110">
                  <c:v>0</c:v>
                </c:pt>
                <c:pt idx="111">
                  <c:v>0</c:v>
                </c:pt>
                <c:pt idx="112">
                  <c:v>0</c:v>
                </c:pt>
                <c:pt idx="113">
                  <c:v>0</c:v>
                </c:pt>
                <c:pt idx="114">
                  <c:v>0</c:v>
                </c:pt>
                <c:pt idx="115">
                  <c:v>0</c:v>
                </c:pt>
                <c:pt idx="116">
                  <c:v>0</c:v>
                </c:pt>
                <c:pt idx="117">
                  <c:v>0</c:v>
                </c:pt>
                <c:pt idx="118">
                  <c:v>0</c:v>
                </c:pt>
                <c:pt idx="119">
                  <c:v>0</c:v>
                </c:pt>
                <c:pt idx="120">
                  <c:v>0</c:v>
                </c:pt>
                <c:pt idx="121">
                  <c:v>0</c:v>
                </c:pt>
                <c:pt idx="122">
                  <c:v>0</c:v>
                </c:pt>
                <c:pt idx="123">
                  <c:v>0</c:v>
                </c:pt>
                <c:pt idx="124">
                  <c:v>0</c:v>
                </c:pt>
                <c:pt idx="125">
                  <c:v>0</c:v>
                </c:pt>
                <c:pt idx="126">
                  <c:v>0</c:v>
                </c:pt>
                <c:pt idx="127">
                  <c:v>0</c:v>
                </c:pt>
                <c:pt idx="128">
                  <c:v>0</c:v>
                </c:pt>
                <c:pt idx="129">
                  <c:v>0</c:v>
                </c:pt>
                <c:pt idx="130">
                  <c:v>0</c:v>
                </c:pt>
                <c:pt idx="131">
                  <c:v>0</c:v>
                </c:pt>
                <c:pt idx="132">
                  <c:v>0</c:v>
                </c:pt>
                <c:pt idx="133">
                  <c:v>0</c:v>
                </c:pt>
                <c:pt idx="134">
                  <c:v>0</c:v>
                </c:pt>
                <c:pt idx="135">
                  <c:v>0</c:v>
                </c:pt>
                <c:pt idx="136">
                  <c:v>0</c:v>
                </c:pt>
                <c:pt idx="137">
                  <c:v>0</c:v>
                </c:pt>
                <c:pt idx="138">
                  <c:v>0</c:v>
                </c:pt>
                <c:pt idx="139">
                  <c:v>0</c:v>
                </c:pt>
                <c:pt idx="140">
                  <c:v>0</c:v>
                </c:pt>
                <c:pt idx="141">
                  <c:v>0</c:v>
                </c:pt>
                <c:pt idx="142">
                  <c:v>0</c:v>
                </c:pt>
                <c:pt idx="143">
                  <c:v>0</c:v>
                </c:pt>
                <c:pt idx="144">
                  <c:v>0</c:v>
                </c:pt>
                <c:pt idx="145">
                  <c:v>0</c:v>
                </c:pt>
                <c:pt idx="146">
                  <c:v>0</c:v>
                </c:pt>
                <c:pt idx="147">
                  <c:v>0</c:v>
                </c:pt>
                <c:pt idx="148">
                  <c:v>0</c:v>
                </c:pt>
                <c:pt idx="149">
                  <c:v>0</c:v>
                </c:pt>
                <c:pt idx="150">
                  <c:v>0</c:v>
                </c:pt>
                <c:pt idx="151">
                  <c:v>0</c:v>
                </c:pt>
                <c:pt idx="152">
                  <c:v>0</c:v>
                </c:pt>
                <c:pt idx="153">
                  <c:v>0</c:v>
                </c:pt>
                <c:pt idx="154">
                  <c:v>0</c:v>
                </c:pt>
                <c:pt idx="155">
                  <c:v>0</c:v>
                </c:pt>
                <c:pt idx="156">
                  <c:v>0</c:v>
                </c:pt>
                <c:pt idx="157">
                  <c:v>0</c:v>
                </c:pt>
                <c:pt idx="158">
                  <c:v>0</c:v>
                </c:pt>
                <c:pt idx="159">
                  <c:v>0</c:v>
                </c:pt>
                <c:pt idx="160">
                  <c:v>0</c:v>
                </c:pt>
                <c:pt idx="161">
                  <c:v>0</c:v>
                </c:pt>
                <c:pt idx="162">
                  <c:v>0</c:v>
                </c:pt>
                <c:pt idx="163">
                  <c:v>0</c:v>
                </c:pt>
                <c:pt idx="164">
                  <c:v>0</c:v>
                </c:pt>
                <c:pt idx="165">
                  <c:v>0</c:v>
                </c:pt>
                <c:pt idx="166">
                  <c:v>0</c:v>
                </c:pt>
                <c:pt idx="167">
                  <c:v>0</c:v>
                </c:pt>
                <c:pt idx="168">
                  <c:v>0</c:v>
                </c:pt>
                <c:pt idx="169">
                  <c:v>0</c:v>
                </c:pt>
                <c:pt idx="170">
                  <c:v>0</c:v>
                </c:pt>
                <c:pt idx="171">
                  <c:v>0</c:v>
                </c:pt>
                <c:pt idx="172">
                  <c:v>0</c:v>
                </c:pt>
                <c:pt idx="173">
                  <c:v>0</c:v>
                </c:pt>
                <c:pt idx="174">
                  <c:v>0</c:v>
                </c:pt>
                <c:pt idx="175">
                  <c:v>0</c:v>
                </c:pt>
                <c:pt idx="176">
                  <c:v>0</c:v>
                </c:pt>
                <c:pt idx="177">
                  <c:v>0</c:v>
                </c:pt>
                <c:pt idx="178">
                  <c:v>0</c:v>
                </c:pt>
                <c:pt idx="179">
                  <c:v>0</c:v>
                </c:pt>
                <c:pt idx="180">
                  <c:v>0</c:v>
                </c:pt>
                <c:pt idx="181">
                  <c:v>0</c:v>
                </c:pt>
                <c:pt idx="182">
                  <c:v>0</c:v>
                </c:pt>
                <c:pt idx="183">
                  <c:v>0</c:v>
                </c:pt>
                <c:pt idx="184">
                  <c:v>0</c:v>
                </c:pt>
                <c:pt idx="185">
                  <c:v>0</c:v>
                </c:pt>
                <c:pt idx="186">
                  <c:v>0</c:v>
                </c:pt>
                <c:pt idx="187">
                  <c:v>0</c:v>
                </c:pt>
                <c:pt idx="188">
                  <c:v>0</c:v>
                </c:pt>
                <c:pt idx="189">
                  <c:v>0</c:v>
                </c:pt>
                <c:pt idx="190">
                  <c:v>0</c:v>
                </c:pt>
                <c:pt idx="191">
                  <c:v>0</c:v>
                </c:pt>
                <c:pt idx="192">
                  <c:v>0</c:v>
                </c:pt>
                <c:pt idx="193">
                  <c:v>0</c:v>
                </c:pt>
                <c:pt idx="194">
                  <c:v>0</c:v>
                </c:pt>
                <c:pt idx="195">
                  <c:v>0</c:v>
                </c:pt>
                <c:pt idx="196">
                  <c:v>0</c:v>
                </c:pt>
                <c:pt idx="197">
                  <c:v>0</c:v>
                </c:pt>
                <c:pt idx="198">
                  <c:v>0</c:v>
                </c:pt>
                <c:pt idx="199">
                  <c:v>0</c:v>
                </c:pt>
                <c:pt idx="200">
                  <c:v>0</c:v>
                </c:pt>
                <c:pt idx="201">
                  <c:v>0</c:v>
                </c:pt>
                <c:pt idx="202">
                  <c:v>0</c:v>
                </c:pt>
                <c:pt idx="203">
                  <c:v>0</c:v>
                </c:pt>
                <c:pt idx="204">
                  <c:v>0</c:v>
                </c:pt>
                <c:pt idx="205">
                  <c:v>0</c:v>
                </c:pt>
                <c:pt idx="206">
                  <c:v>0</c:v>
                </c:pt>
                <c:pt idx="207">
                  <c:v>0</c:v>
                </c:pt>
                <c:pt idx="208">
                  <c:v>0</c:v>
                </c:pt>
                <c:pt idx="209">
                  <c:v>0</c:v>
                </c:pt>
                <c:pt idx="210">
                  <c:v>0</c:v>
                </c:pt>
                <c:pt idx="211">
                  <c:v>0</c:v>
                </c:pt>
                <c:pt idx="212">
                  <c:v>0</c:v>
                </c:pt>
                <c:pt idx="213">
                  <c:v>0</c:v>
                </c:pt>
                <c:pt idx="214">
                  <c:v>0</c:v>
                </c:pt>
                <c:pt idx="215">
                  <c:v>0</c:v>
                </c:pt>
                <c:pt idx="216">
                  <c:v>0</c:v>
                </c:pt>
                <c:pt idx="217">
                  <c:v>0</c:v>
                </c:pt>
                <c:pt idx="218">
                  <c:v>0</c:v>
                </c:pt>
                <c:pt idx="219">
                  <c:v>0</c:v>
                </c:pt>
                <c:pt idx="220">
                  <c:v>0</c:v>
                </c:pt>
                <c:pt idx="221">
                  <c:v>0</c:v>
                </c:pt>
                <c:pt idx="222">
                  <c:v>0</c:v>
                </c:pt>
                <c:pt idx="223">
                  <c:v>0</c:v>
                </c:pt>
                <c:pt idx="224">
                  <c:v>0</c:v>
                </c:pt>
                <c:pt idx="225">
                  <c:v>0</c:v>
                </c:pt>
                <c:pt idx="226">
                  <c:v>0</c:v>
                </c:pt>
                <c:pt idx="227">
                  <c:v>0</c:v>
                </c:pt>
                <c:pt idx="228">
                  <c:v>0</c:v>
                </c:pt>
                <c:pt idx="229">
                  <c:v>0</c:v>
                </c:pt>
                <c:pt idx="230">
                  <c:v>0</c:v>
                </c:pt>
                <c:pt idx="231">
                  <c:v>0</c:v>
                </c:pt>
                <c:pt idx="232">
                  <c:v>0</c:v>
                </c:pt>
                <c:pt idx="233">
                  <c:v>0</c:v>
                </c:pt>
                <c:pt idx="234">
                  <c:v>0</c:v>
                </c:pt>
                <c:pt idx="235">
                  <c:v>0</c:v>
                </c:pt>
                <c:pt idx="236">
                  <c:v>0</c:v>
                </c:pt>
                <c:pt idx="237">
                  <c:v>0</c:v>
                </c:pt>
                <c:pt idx="238">
                  <c:v>0</c:v>
                </c:pt>
                <c:pt idx="239">
                  <c:v>0</c:v>
                </c:pt>
                <c:pt idx="240">
                  <c:v>0</c:v>
                </c:pt>
                <c:pt idx="241">
                  <c:v>0</c:v>
                </c:pt>
                <c:pt idx="242">
                  <c:v>0</c:v>
                </c:pt>
                <c:pt idx="243">
                  <c:v>0</c:v>
                </c:pt>
                <c:pt idx="244">
                  <c:v>0</c:v>
                </c:pt>
                <c:pt idx="245">
                  <c:v>0</c:v>
                </c:pt>
                <c:pt idx="246">
                  <c:v>13.854253255749001</c:v>
                </c:pt>
                <c:pt idx="247">
                  <c:v>11.584800741426999</c:v>
                </c:pt>
                <c:pt idx="248">
                  <c:v>0</c:v>
                </c:pt>
                <c:pt idx="249">
                  <c:v>0</c:v>
                </c:pt>
                <c:pt idx="250">
                  <c:v>7.9484937604320001</c:v>
                </c:pt>
                <c:pt idx="251">
                  <c:v>0</c:v>
                </c:pt>
                <c:pt idx="252">
                  <c:v>0</c:v>
                </c:pt>
                <c:pt idx="253">
                  <c:v>6.5724613867889996</c:v>
                </c:pt>
                <c:pt idx="254">
                  <c:v>0</c:v>
                </c:pt>
                <c:pt idx="255">
                  <c:v>0</c:v>
                </c:pt>
                <c:pt idx="256">
                  <c:v>0</c:v>
                </c:pt>
                <c:pt idx="257">
                  <c:v>4.8065368901700003</c:v>
                </c:pt>
                <c:pt idx="258">
                  <c:v>0</c:v>
                </c:pt>
                <c:pt idx="259">
                  <c:v>4.4742729306479996</c:v>
                </c:pt>
                <c:pt idx="260">
                  <c:v>8.3920778784820005</c:v>
                </c:pt>
                <c:pt idx="261">
                  <c:v>11.678150181011</c:v>
                </c:pt>
                <c:pt idx="262">
                  <c:v>0</c:v>
                </c:pt>
                <c:pt idx="263">
                  <c:v>6.4639151934320003</c:v>
                </c:pt>
                <c:pt idx="264">
                  <c:v>6.3702382469099996</c:v>
                </c:pt>
                <c:pt idx="265">
                  <c:v>0</c:v>
                </c:pt>
                <c:pt idx="266">
                  <c:v>17.875230888398001</c:v>
                </c:pt>
                <c:pt idx="267">
                  <c:v>11.241323103729</c:v>
                </c:pt>
                <c:pt idx="268">
                  <c:v>15.522727860709001</c:v>
                </c:pt>
                <c:pt idx="269">
                  <c:v>7.6879708882160003</c:v>
                </c:pt>
                <c:pt idx="270">
                  <c:v>26.749671708573999</c:v>
                </c:pt>
                <c:pt idx="271">
                  <c:v>14.471430983333001</c:v>
                </c:pt>
                <c:pt idx="272">
                  <c:v>9.5739588319770004</c:v>
                </c:pt>
                <c:pt idx="273">
                  <c:v>29.92564627886</c:v>
                </c:pt>
                <c:pt idx="274">
                  <c:v>15.429377534825999</c:v>
                </c:pt>
                <c:pt idx="275">
                  <c:v>18.892480792644001</c:v>
                </c:pt>
                <c:pt idx="276">
                  <c:v>13.850141469302001</c:v>
                </c:pt>
                <c:pt idx="277">
                  <c:v>27.633978740259</c:v>
                </c:pt>
                <c:pt idx="278">
                  <c:v>21.891019209368999</c:v>
                </c:pt>
                <c:pt idx="279">
                  <c:v>7.2574207126779999</c:v>
                </c:pt>
                <c:pt idx="280">
                  <c:v>29.929050544883999</c:v>
                </c:pt>
                <c:pt idx="281">
                  <c:v>46.049938600080999</c:v>
                </c:pt>
                <c:pt idx="282">
                  <c:v>27.970647273684001</c:v>
                </c:pt>
                <c:pt idx="283">
                  <c:v>30.230227044915001</c:v>
                </c:pt>
                <c:pt idx="284">
                  <c:v>46.791746539674001</c:v>
                </c:pt>
                <c:pt idx="285">
                  <c:v>18.009094592768999</c:v>
                </c:pt>
                <c:pt idx="286">
                  <c:v>11.962437944853001</c:v>
                </c:pt>
                <c:pt idx="287">
                  <c:v>54.097521748665002</c:v>
                </c:pt>
                <c:pt idx="288">
                  <c:v>55.102646339911999</c:v>
                </c:pt>
                <c:pt idx="289">
                  <c:v>26.710903672046001</c:v>
                </c:pt>
                <c:pt idx="290">
                  <c:v>30.144832216604001</c:v>
                </c:pt>
                <c:pt idx="291">
                  <c:v>54.085428594042</c:v>
                </c:pt>
                <c:pt idx="292">
                  <c:v>20.967107849561</c:v>
                </c:pt>
                <c:pt idx="293">
                  <c:v>19.600669036168998</c:v>
                </c:pt>
                <c:pt idx="294">
                  <c:v>43.570751211009998</c:v>
                </c:pt>
                <c:pt idx="295">
                  <c:v>57.597195267012999</c:v>
                </c:pt>
                <c:pt idx="296">
                  <c:v>31.851035158641999</c:v>
                </c:pt>
                <c:pt idx="297">
                  <c:v>55.047628165238002</c:v>
                </c:pt>
                <c:pt idx="298">
                  <c:v>40.260427450709003</c:v>
                </c:pt>
                <c:pt idx="299">
                  <c:v>28.582861716115001</c:v>
                </c:pt>
                <c:pt idx="300">
                  <c:v>26.165204828048999</c:v>
                </c:pt>
                <c:pt idx="301">
                  <c:v>50.266411983512</c:v>
                </c:pt>
                <c:pt idx="302">
                  <c:v>40.543502081962998</c:v>
                </c:pt>
                <c:pt idx="303">
                  <c:v>50.570804506180998</c:v>
                </c:pt>
                <c:pt idx="304">
                  <c:v>44.219835754895001</c:v>
                </c:pt>
                <c:pt idx="305">
                  <c:v>45.636168184490998</c:v>
                </c:pt>
                <c:pt idx="306">
                  <c:v>22.188826917063999</c:v>
                </c:pt>
                <c:pt idx="307">
                  <c:v>24.12230006131</c:v>
                </c:pt>
                <c:pt idx="308">
                  <c:v>51.475974578787003</c:v>
                </c:pt>
                <c:pt idx="309">
                  <c:v>41.863408460301997</c:v>
                </c:pt>
                <c:pt idx="310">
                  <c:v>30.595659240844999</c:v>
                </c:pt>
                <c:pt idx="311">
                  <c:v>36.624532802433997</c:v>
                </c:pt>
                <c:pt idx="312">
                  <c:v>25.569608693666002</c:v>
                </c:pt>
                <c:pt idx="313">
                  <c:v>15.436162388428</c:v>
                </c:pt>
                <c:pt idx="314">
                  <c:v>9.0488729628720002</c:v>
                </c:pt>
                <c:pt idx="315">
                  <c:v>39.350009390342997</c:v>
                </c:pt>
                <c:pt idx="316">
                  <c:v>37.987543619417004</c:v>
                </c:pt>
                <c:pt idx="317">
                  <c:v>34.878144482712997</c:v>
                </c:pt>
                <c:pt idx="318">
                  <c:v>15.460729746444001</c:v>
                </c:pt>
                <c:pt idx="319">
                  <c:v>32.000538956444998</c:v>
                </c:pt>
                <c:pt idx="320">
                  <c:v>15.101304584923</c:v>
                </c:pt>
                <c:pt idx="321">
                  <c:v>14.223203902177</c:v>
                </c:pt>
                <c:pt idx="322">
                  <c:v>26.493355963073999</c:v>
                </c:pt>
                <c:pt idx="323">
                  <c:v>29.502392971873999</c:v>
                </c:pt>
                <c:pt idx="324">
                  <c:v>17.871503887052</c:v>
                </c:pt>
                <c:pt idx="325">
                  <c:v>18.617753241917001</c:v>
                </c:pt>
                <c:pt idx="326">
                  <c:v>5.6659516775260004</c:v>
                </c:pt>
                <c:pt idx="327">
                  <c:v>5.6658599561300003</c:v>
                </c:pt>
                <c:pt idx="328">
                  <c:v>7.2834980213160003</c:v>
                </c:pt>
                <c:pt idx="329">
                  <c:v>28.114030507738999</c:v>
                </c:pt>
                <c:pt idx="330">
                  <c:v>29.481601886821998</c:v>
                </c:pt>
                <c:pt idx="331">
                  <c:v>27.64743984707</c:v>
                </c:pt>
                <c:pt idx="332">
                  <c:v>15.686028454455</c:v>
                </c:pt>
                <c:pt idx="333">
                  <c:v>25.057750283857001</c:v>
                </c:pt>
                <c:pt idx="334">
                  <c:v>5.4810395182939997</c:v>
                </c:pt>
                <c:pt idx="335">
                  <c:v>25.80564439822</c:v>
                </c:pt>
                <c:pt idx="336">
                  <c:v>61.298757730238002</c:v>
                </c:pt>
                <c:pt idx="337">
                  <c:v>52.260657715748003</c:v>
                </c:pt>
                <c:pt idx="338">
                  <c:v>37.291282972342998</c:v>
                </c:pt>
                <c:pt idx="339">
                  <c:v>39.127163280662003</c:v>
                </c:pt>
                <c:pt idx="340">
                  <c:v>45.046042963585997</c:v>
                </c:pt>
                <c:pt idx="341">
                  <c:v>23.560074508734999</c:v>
                </c:pt>
                <c:pt idx="342">
                  <c:v>27.198282832737</c:v>
                </c:pt>
                <c:pt idx="343">
                  <c:v>62.045154273450997</c:v>
                </c:pt>
                <c:pt idx="344">
                  <c:v>76.788780145028994</c:v>
                </c:pt>
                <c:pt idx="345">
                  <c:v>91.934869890610997</c:v>
                </c:pt>
                <c:pt idx="346">
                  <c:v>64.129513114484993</c:v>
                </c:pt>
                <c:pt idx="347">
                  <c:v>80.320719222720001</c:v>
                </c:pt>
                <c:pt idx="348">
                  <c:v>53.429694255603998</c:v>
                </c:pt>
                <c:pt idx="349">
                  <c:v>58.988764044942997</c:v>
                </c:pt>
                <c:pt idx="350">
                  <c:v>188.04745227159901</c:v>
                </c:pt>
                <c:pt idx="351">
                  <c:v>182.296377729227</c:v>
                </c:pt>
                <c:pt idx="352">
                  <c:v>220.852949321517</c:v>
                </c:pt>
                <c:pt idx="353">
                  <c:v>206.669927458855</c:v>
                </c:pt>
                <c:pt idx="354">
                  <c:v>228.59802337996501</c:v>
                </c:pt>
                <c:pt idx="355">
                  <c:v>125.147886505228</c:v>
                </c:pt>
                <c:pt idx="356">
                  <c:v>138.748393799382</c:v>
                </c:pt>
                <c:pt idx="357">
                  <c:v>349.18149950651701</c:v>
                </c:pt>
                <c:pt idx="358">
                  <c:v>312.039995387234</c:v>
                </c:pt>
                <c:pt idx="359">
                  <c:v>354.00621537630002</c:v>
                </c:pt>
                <c:pt idx="360">
                  <c:v>431.34774299480398</c:v>
                </c:pt>
                <c:pt idx="361">
                  <c:v>409.18116964303601</c:v>
                </c:pt>
                <c:pt idx="362">
                  <c:v>159.65263861055399</c:v>
                </c:pt>
                <c:pt idx="363">
                  <c:v>235.04116559050701</c:v>
                </c:pt>
                <c:pt idx="364">
                  <c:v>449.340966582345</c:v>
                </c:pt>
                <c:pt idx="365">
                  <c:v>505.40940818617099</c:v>
                </c:pt>
                <c:pt idx="366">
                  <c:v>398.255891006441</c:v>
                </c:pt>
                <c:pt idx="367">
                  <c:v>348.47813580728501</c:v>
                </c:pt>
                <c:pt idx="368">
                  <c:v>288.659250276796</c:v>
                </c:pt>
                <c:pt idx="369">
                  <c:v>234.5252839337</c:v>
                </c:pt>
                <c:pt idx="370">
                  <c:v>137.65848839123899</c:v>
                </c:pt>
                <c:pt idx="371">
                  <c:v>478.21711188438502</c:v>
                </c:pt>
                <c:pt idx="372">
                  <c:v>359.83505371260401</c:v>
                </c:pt>
                <c:pt idx="373">
                  <c:v>302.871377999213</c:v>
                </c:pt>
                <c:pt idx="374">
                  <c:v>264.40655780621</c:v>
                </c:pt>
                <c:pt idx="375">
                  <c:v>234.280680001305</c:v>
                </c:pt>
                <c:pt idx="376">
                  <c:v>144.841489910028</c:v>
                </c:pt>
                <c:pt idx="377">
                  <c:v>118.06529467401501</c:v>
                </c:pt>
                <c:pt idx="378">
                  <c:v>321.82200767421699</c:v>
                </c:pt>
                <c:pt idx="379">
                  <c:v>282.45462177764102</c:v>
                </c:pt>
                <c:pt idx="380">
                  <c:v>218.437134312833</c:v>
                </c:pt>
                <c:pt idx="381">
                  <c:v>185.68173112506199</c:v>
                </c:pt>
                <c:pt idx="382">
                  <c:v>172.33783398553899</c:v>
                </c:pt>
                <c:pt idx="383">
                  <c:v>101.696452283635</c:v>
                </c:pt>
                <c:pt idx="384">
                  <c:v>82.904776092334998</c:v>
                </c:pt>
                <c:pt idx="385">
                  <c:v>230.39536102823601</c:v>
                </c:pt>
                <c:pt idx="386">
                  <c:v>171.370185467808</c:v>
                </c:pt>
                <c:pt idx="387">
                  <c:v>149.25276699123199</c:v>
                </c:pt>
                <c:pt idx="388">
                  <c:v>134.902244282791</c:v>
                </c:pt>
                <c:pt idx="389">
                  <c:v>116.62671718343201</c:v>
                </c:pt>
                <c:pt idx="390">
                  <c:v>78.598625168309994</c:v>
                </c:pt>
                <c:pt idx="391">
                  <c:v>64.420952270515997</c:v>
                </c:pt>
                <c:pt idx="392">
                  <c:v>182.21738598535799</c:v>
                </c:pt>
                <c:pt idx="393">
                  <c:v>150.601440367621</c:v>
                </c:pt>
                <c:pt idx="394">
                  <c:v>124.154878386115</c:v>
                </c:pt>
                <c:pt idx="395">
                  <c:v>108.664201896801</c:v>
                </c:pt>
                <c:pt idx="396">
                  <c:v>114.3400395693620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1A0B-4754-90A8-6FC4E50C7F8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42360815"/>
        <c:axId val="692383071"/>
      </c:lineChart>
      <c:dateAx>
        <c:axId val="442360815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692383071"/>
        <c:crosses val="autoZero"/>
        <c:auto val="1"/>
        <c:lblOffset val="100"/>
        <c:baseTimeUnit val="days"/>
      </c:dateAx>
      <c:valAx>
        <c:axId val="692383071"/>
        <c:scaling>
          <c:orientation val="minMax"/>
          <c:min val="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cs-CZ" sz="1800" b="0" i="0" baseline="0" dirty="0">
                    <a:effectLst/>
                  </a:rPr>
                  <a:t>Počet nově pozitivních na 100 tis. dané kategorie v populaci v daném dni</a:t>
                </a:r>
                <a:endParaRPr lang="cs-CZ" sz="1600" dirty="0">
                  <a:effectLst/>
                </a:endParaRPr>
              </a:p>
            </c:rich>
          </c:tx>
          <c:layout>
            <c:manualLayout>
              <c:xMode val="edge"/>
              <c:yMode val="edge"/>
              <c:x val="2.72039458206043E-2"/>
              <c:y val="0.12267840916700973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cs-CZ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42360815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1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Incidence</c:v>
                </c:pt>
              </c:strCache>
            </c:strRef>
          </c:tx>
          <c:spPr>
            <a:solidFill>
              <a:srgbClr val="99CCFF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lIns="38100" tIns="19050" rIns="38100" bIns="19050" anchor="ctr" anchorCtr="1">
                <a:spAutoFit/>
              </a:bodyPr>
              <a:lstStyle/>
              <a:p>
                <a:pPr>
                  <a:defRPr sz="5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trendline>
            <c:spPr>
              <a:ln w="19050" cap="rnd">
                <a:solidFill>
                  <a:srgbClr val="002060"/>
                </a:solidFill>
                <a:prstDash val="solid"/>
              </a:ln>
              <a:effectLst/>
            </c:spPr>
            <c:trendlineType val="movingAvg"/>
            <c:period val="7"/>
            <c:dispRSqr val="0"/>
            <c:dispEq val="0"/>
          </c:trendline>
          <c:cat>
            <c:numRef>
              <c:f>Sheet1!$A$2:$A$184</c:f>
              <c:numCache>
                <c:formatCode>m/d/yyyy</c:formatCode>
                <c:ptCount val="183"/>
                <c:pt idx="0">
                  <c:v>44442</c:v>
                </c:pt>
                <c:pt idx="1">
                  <c:v>44443</c:v>
                </c:pt>
                <c:pt idx="2">
                  <c:v>44444</c:v>
                </c:pt>
                <c:pt idx="3">
                  <c:v>44445</c:v>
                </c:pt>
                <c:pt idx="4">
                  <c:v>44446</c:v>
                </c:pt>
                <c:pt idx="5">
                  <c:v>44447</c:v>
                </c:pt>
                <c:pt idx="6">
                  <c:v>44448</c:v>
                </c:pt>
                <c:pt idx="7">
                  <c:v>44449</c:v>
                </c:pt>
                <c:pt idx="8">
                  <c:v>44450</c:v>
                </c:pt>
                <c:pt idx="9">
                  <c:v>44451</c:v>
                </c:pt>
                <c:pt idx="10">
                  <c:v>44452</c:v>
                </c:pt>
                <c:pt idx="11">
                  <c:v>44453</c:v>
                </c:pt>
                <c:pt idx="12">
                  <c:v>44454</c:v>
                </c:pt>
                <c:pt idx="13">
                  <c:v>44455</c:v>
                </c:pt>
                <c:pt idx="14">
                  <c:v>44456</c:v>
                </c:pt>
                <c:pt idx="15">
                  <c:v>44457</c:v>
                </c:pt>
                <c:pt idx="16">
                  <c:v>44458</c:v>
                </c:pt>
                <c:pt idx="17">
                  <c:v>44459</c:v>
                </c:pt>
                <c:pt idx="18">
                  <c:v>44460</c:v>
                </c:pt>
                <c:pt idx="19">
                  <c:v>44461</c:v>
                </c:pt>
                <c:pt idx="20">
                  <c:v>44462</c:v>
                </c:pt>
                <c:pt idx="21">
                  <c:v>44463</c:v>
                </c:pt>
                <c:pt idx="22">
                  <c:v>44464</c:v>
                </c:pt>
                <c:pt idx="23">
                  <c:v>44465</c:v>
                </c:pt>
                <c:pt idx="24">
                  <c:v>44466</c:v>
                </c:pt>
                <c:pt idx="25">
                  <c:v>44467</c:v>
                </c:pt>
                <c:pt idx="26">
                  <c:v>44468</c:v>
                </c:pt>
                <c:pt idx="27">
                  <c:v>44469</c:v>
                </c:pt>
                <c:pt idx="28">
                  <c:v>44470</c:v>
                </c:pt>
                <c:pt idx="29">
                  <c:v>44471</c:v>
                </c:pt>
                <c:pt idx="30">
                  <c:v>44472</c:v>
                </c:pt>
                <c:pt idx="31">
                  <c:v>44473</c:v>
                </c:pt>
                <c:pt idx="32">
                  <c:v>44474</c:v>
                </c:pt>
                <c:pt idx="33">
                  <c:v>44475</c:v>
                </c:pt>
                <c:pt idx="34">
                  <c:v>44476</c:v>
                </c:pt>
                <c:pt idx="35">
                  <c:v>44477</c:v>
                </c:pt>
                <c:pt idx="36">
                  <c:v>44478</c:v>
                </c:pt>
                <c:pt idx="37">
                  <c:v>44479</c:v>
                </c:pt>
                <c:pt idx="38">
                  <c:v>44480</c:v>
                </c:pt>
                <c:pt idx="39">
                  <c:v>44481</c:v>
                </c:pt>
                <c:pt idx="40">
                  <c:v>44482</c:v>
                </c:pt>
                <c:pt idx="41">
                  <c:v>44483</c:v>
                </c:pt>
                <c:pt idx="42">
                  <c:v>44484</c:v>
                </c:pt>
                <c:pt idx="43">
                  <c:v>44485</c:v>
                </c:pt>
                <c:pt idx="44">
                  <c:v>44486</c:v>
                </c:pt>
                <c:pt idx="45">
                  <c:v>44487</c:v>
                </c:pt>
                <c:pt idx="46">
                  <c:v>44488</c:v>
                </c:pt>
                <c:pt idx="47">
                  <c:v>44489</c:v>
                </c:pt>
                <c:pt idx="48">
                  <c:v>44490</c:v>
                </c:pt>
                <c:pt idx="49">
                  <c:v>44491</c:v>
                </c:pt>
                <c:pt idx="50">
                  <c:v>44492</c:v>
                </c:pt>
                <c:pt idx="51">
                  <c:v>44493</c:v>
                </c:pt>
                <c:pt idx="52">
                  <c:v>44494</c:v>
                </c:pt>
                <c:pt idx="53">
                  <c:v>44495</c:v>
                </c:pt>
                <c:pt idx="54">
                  <c:v>44496</c:v>
                </c:pt>
                <c:pt idx="55">
                  <c:v>44497</c:v>
                </c:pt>
                <c:pt idx="56">
                  <c:v>44498</c:v>
                </c:pt>
                <c:pt idx="57">
                  <c:v>44499</c:v>
                </c:pt>
                <c:pt idx="58">
                  <c:v>44500</c:v>
                </c:pt>
                <c:pt idx="59">
                  <c:v>44501</c:v>
                </c:pt>
                <c:pt idx="60">
                  <c:v>44502</c:v>
                </c:pt>
                <c:pt idx="61">
                  <c:v>44503</c:v>
                </c:pt>
                <c:pt idx="62">
                  <c:v>44504</c:v>
                </c:pt>
                <c:pt idx="63">
                  <c:v>44505</c:v>
                </c:pt>
                <c:pt idx="64">
                  <c:v>44506</c:v>
                </c:pt>
                <c:pt idx="65">
                  <c:v>44507</c:v>
                </c:pt>
                <c:pt idx="66">
                  <c:v>44508</c:v>
                </c:pt>
                <c:pt idx="67">
                  <c:v>44509</c:v>
                </c:pt>
                <c:pt idx="68">
                  <c:v>44510</c:v>
                </c:pt>
                <c:pt idx="69">
                  <c:v>44511</c:v>
                </c:pt>
                <c:pt idx="70">
                  <c:v>44512</c:v>
                </c:pt>
                <c:pt idx="71">
                  <c:v>44513</c:v>
                </c:pt>
                <c:pt idx="72">
                  <c:v>44514</c:v>
                </c:pt>
                <c:pt idx="73">
                  <c:v>44515</c:v>
                </c:pt>
                <c:pt idx="74">
                  <c:v>44516</c:v>
                </c:pt>
                <c:pt idx="75">
                  <c:v>44517</c:v>
                </c:pt>
                <c:pt idx="76">
                  <c:v>44518</c:v>
                </c:pt>
                <c:pt idx="77">
                  <c:v>44519</c:v>
                </c:pt>
                <c:pt idx="78">
                  <c:v>44520</c:v>
                </c:pt>
                <c:pt idx="79">
                  <c:v>44521</c:v>
                </c:pt>
                <c:pt idx="80">
                  <c:v>44522</c:v>
                </c:pt>
                <c:pt idx="81">
                  <c:v>44523</c:v>
                </c:pt>
                <c:pt idx="82">
                  <c:v>44524</c:v>
                </c:pt>
                <c:pt idx="83">
                  <c:v>44525</c:v>
                </c:pt>
                <c:pt idx="84">
                  <c:v>44526</c:v>
                </c:pt>
                <c:pt idx="85">
                  <c:v>44527</c:v>
                </c:pt>
                <c:pt idx="86">
                  <c:v>44528</c:v>
                </c:pt>
                <c:pt idx="87">
                  <c:v>44529</c:v>
                </c:pt>
                <c:pt idx="88">
                  <c:v>44530</c:v>
                </c:pt>
                <c:pt idx="89">
                  <c:v>44531</c:v>
                </c:pt>
                <c:pt idx="90">
                  <c:v>44532</c:v>
                </c:pt>
                <c:pt idx="91">
                  <c:v>44533</c:v>
                </c:pt>
                <c:pt idx="92">
                  <c:v>44534</c:v>
                </c:pt>
                <c:pt idx="93">
                  <c:v>44535</c:v>
                </c:pt>
                <c:pt idx="94">
                  <c:v>44536</c:v>
                </c:pt>
                <c:pt idx="95">
                  <c:v>44537</c:v>
                </c:pt>
                <c:pt idx="96">
                  <c:v>44538</c:v>
                </c:pt>
                <c:pt idx="97">
                  <c:v>44539</c:v>
                </c:pt>
                <c:pt idx="98">
                  <c:v>44540</c:v>
                </c:pt>
                <c:pt idx="99">
                  <c:v>44541</c:v>
                </c:pt>
                <c:pt idx="100">
                  <c:v>44542</c:v>
                </c:pt>
                <c:pt idx="101">
                  <c:v>44543</c:v>
                </c:pt>
                <c:pt idx="102">
                  <c:v>44544</c:v>
                </c:pt>
                <c:pt idx="103">
                  <c:v>44545</c:v>
                </c:pt>
                <c:pt idx="104">
                  <c:v>44546</c:v>
                </c:pt>
                <c:pt idx="105">
                  <c:v>44547</c:v>
                </c:pt>
                <c:pt idx="106">
                  <c:v>44548</c:v>
                </c:pt>
                <c:pt idx="107">
                  <c:v>44549</c:v>
                </c:pt>
                <c:pt idx="108">
                  <c:v>44550</c:v>
                </c:pt>
                <c:pt idx="109">
                  <c:v>44551</c:v>
                </c:pt>
                <c:pt idx="110">
                  <c:v>44552</c:v>
                </c:pt>
                <c:pt idx="111">
                  <c:v>44553</c:v>
                </c:pt>
                <c:pt idx="112">
                  <c:v>44554</c:v>
                </c:pt>
                <c:pt idx="113">
                  <c:v>44555</c:v>
                </c:pt>
                <c:pt idx="114">
                  <c:v>44556</c:v>
                </c:pt>
                <c:pt idx="115">
                  <c:v>44557</c:v>
                </c:pt>
                <c:pt idx="116">
                  <c:v>44558</c:v>
                </c:pt>
                <c:pt idx="117">
                  <c:v>44559</c:v>
                </c:pt>
                <c:pt idx="118">
                  <c:v>44560</c:v>
                </c:pt>
                <c:pt idx="119">
                  <c:v>44561</c:v>
                </c:pt>
                <c:pt idx="120">
                  <c:v>44562</c:v>
                </c:pt>
                <c:pt idx="121">
                  <c:v>44563</c:v>
                </c:pt>
                <c:pt idx="122">
                  <c:v>44564</c:v>
                </c:pt>
                <c:pt idx="123">
                  <c:v>44565</c:v>
                </c:pt>
                <c:pt idx="124">
                  <c:v>44566</c:v>
                </c:pt>
                <c:pt idx="125">
                  <c:v>44567</c:v>
                </c:pt>
                <c:pt idx="126">
                  <c:v>44568</c:v>
                </c:pt>
                <c:pt idx="127">
                  <c:v>44569</c:v>
                </c:pt>
                <c:pt idx="128">
                  <c:v>44570</c:v>
                </c:pt>
                <c:pt idx="129">
                  <c:v>44571</c:v>
                </c:pt>
                <c:pt idx="130">
                  <c:v>44572</c:v>
                </c:pt>
                <c:pt idx="131">
                  <c:v>44573</c:v>
                </c:pt>
                <c:pt idx="132">
                  <c:v>44574</c:v>
                </c:pt>
                <c:pt idx="133">
                  <c:v>44575</c:v>
                </c:pt>
                <c:pt idx="134">
                  <c:v>44576</c:v>
                </c:pt>
                <c:pt idx="135">
                  <c:v>44577</c:v>
                </c:pt>
                <c:pt idx="136">
                  <c:v>44578</c:v>
                </c:pt>
                <c:pt idx="137">
                  <c:v>44579</c:v>
                </c:pt>
                <c:pt idx="138">
                  <c:v>44580</c:v>
                </c:pt>
                <c:pt idx="139">
                  <c:v>44581</c:v>
                </c:pt>
                <c:pt idx="140">
                  <c:v>44582</c:v>
                </c:pt>
                <c:pt idx="141">
                  <c:v>44583</c:v>
                </c:pt>
                <c:pt idx="142">
                  <c:v>44584</c:v>
                </c:pt>
                <c:pt idx="143">
                  <c:v>44585</c:v>
                </c:pt>
                <c:pt idx="144">
                  <c:v>44586</c:v>
                </c:pt>
                <c:pt idx="145">
                  <c:v>44587</c:v>
                </c:pt>
                <c:pt idx="146">
                  <c:v>44588</c:v>
                </c:pt>
                <c:pt idx="147">
                  <c:v>44589</c:v>
                </c:pt>
                <c:pt idx="148">
                  <c:v>44590</c:v>
                </c:pt>
                <c:pt idx="149">
                  <c:v>44591</c:v>
                </c:pt>
                <c:pt idx="150">
                  <c:v>44592</c:v>
                </c:pt>
                <c:pt idx="151">
                  <c:v>44593</c:v>
                </c:pt>
                <c:pt idx="152">
                  <c:v>44594</c:v>
                </c:pt>
                <c:pt idx="153">
                  <c:v>44595</c:v>
                </c:pt>
                <c:pt idx="154">
                  <c:v>44596</c:v>
                </c:pt>
                <c:pt idx="155">
                  <c:v>44597</c:v>
                </c:pt>
                <c:pt idx="156">
                  <c:v>44598</c:v>
                </c:pt>
                <c:pt idx="157">
                  <c:v>44599</c:v>
                </c:pt>
                <c:pt idx="158">
                  <c:v>44600</c:v>
                </c:pt>
                <c:pt idx="159">
                  <c:v>44601</c:v>
                </c:pt>
                <c:pt idx="160">
                  <c:v>44602</c:v>
                </c:pt>
                <c:pt idx="161">
                  <c:v>44603</c:v>
                </c:pt>
                <c:pt idx="162">
                  <c:v>44604</c:v>
                </c:pt>
                <c:pt idx="163">
                  <c:v>44605</c:v>
                </c:pt>
                <c:pt idx="164">
                  <c:v>44606</c:v>
                </c:pt>
                <c:pt idx="165">
                  <c:v>44607</c:v>
                </c:pt>
                <c:pt idx="166">
                  <c:v>44608</c:v>
                </c:pt>
                <c:pt idx="167">
                  <c:v>44609</c:v>
                </c:pt>
                <c:pt idx="168">
                  <c:v>44610</c:v>
                </c:pt>
                <c:pt idx="169">
                  <c:v>44611</c:v>
                </c:pt>
                <c:pt idx="170">
                  <c:v>44612</c:v>
                </c:pt>
                <c:pt idx="171">
                  <c:v>44613</c:v>
                </c:pt>
                <c:pt idx="172">
                  <c:v>44614</c:v>
                </c:pt>
                <c:pt idx="173">
                  <c:v>44615</c:v>
                </c:pt>
                <c:pt idx="174">
                  <c:v>44616</c:v>
                </c:pt>
                <c:pt idx="175">
                  <c:v>44617</c:v>
                </c:pt>
                <c:pt idx="176">
                  <c:v>44618</c:v>
                </c:pt>
                <c:pt idx="177">
                  <c:v>44619</c:v>
                </c:pt>
                <c:pt idx="178">
                  <c:v>44620</c:v>
                </c:pt>
                <c:pt idx="179">
                  <c:v>44621</c:v>
                </c:pt>
                <c:pt idx="180">
                  <c:v>44622</c:v>
                </c:pt>
                <c:pt idx="181">
                  <c:v>44623</c:v>
                </c:pt>
                <c:pt idx="182">
                  <c:v>44624</c:v>
                </c:pt>
              </c:numCache>
            </c:numRef>
          </c:cat>
          <c:val>
            <c:numRef>
              <c:f>Sheet1!$B$2:$B$184</c:f>
              <c:numCache>
                <c:formatCode>#\ ##0_ ;\-#\ ##0\ </c:formatCode>
                <c:ptCount val="183"/>
                <c:pt idx="0">
                  <c:v>1</c:v>
                </c:pt>
                <c:pt idx="1">
                  <c:v>0</c:v>
                </c:pt>
                <c:pt idx="2">
                  <c:v>0</c:v>
                </c:pt>
                <c:pt idx="3">
                  <c:v>1</c:v>
                </c:pt>
                <c:pt idx="4">
                  <c:v>2</c:v>
                </c:pt>
                <c:pt idx="5">
                  <c:v>1</c:v>
                </c:pt>
                <c:pt idx="6">
                  <c:v>1</c:v>
                </c:pt>
                <c:pt idx="7">
                  <c:v>1</c:v>
                </c:pt>
                <c:pt idx="8">
                  <c:v>0</c:v>
                </c:pt>
                <c:pt idx="9">
                  <c:v>1</c:v>
                </c:pt>
                <c:pt idx="10">
                  <c:v>0</c:v>
                </c:pt>
                <c:pt idx="11">
                  <c:v>1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1</c:v>
                </c:pt>
                <c:pt idx="16">
                  <c:v>0</c:v>
                </c:pt>
                <c:pt idx="17">
                  <c:v>4</c:v>
                </c:pt>
                <c:pt idx="18">
                  <c:v>4</c:v>
                </c:pt>
                <c:pt idx="19">
                  <c:v>2</c:v>
                </c:pt>
                <c:pt idx="20">
                  <c:v>0</c:v>
                </c:pt>
                <c:pt idx="21">
                  <c:v>0</c:v>
                </c:pt>
                <c:pt idx="22">
                  <c:v>1</c:v>
                </c:pt>
                <c:pt idx="23">
                  <c:v>1</c:v>
                </c:pt>
                <c:pt idx="24">
                  <c:v>5</c:v>
                </c:pt>
                <c:pt idx="25">
                  <c:v>2</c:v>
                </c:pt>
                <c:pt idx="26">
                  <c:v>7</c:v>
                </c:pt>
                <c:pt idx="27">
                  <c:v>3</c:v>
                </c:pt>
                <c:pt idx="28">
                  <c:v>3</c:v>
                </c:pt>
                <c:pt idx="29">
                  <c:v>0</c:v>
                </c:pt>
                <c:pt idx="30">
                  <c:v>0</c:v>
                </c:pt>
                <c:pt idx="31">
                  <c:v>4</c:v>
                </c:pt>
                <c:pt idx="32">
                  <c:v>5</c:v>
                </c:pt>
                <c:pt idx="33">
                  <c:v>2</c:v>
                </c:pt>
                <c:pt idx="34">
                  <c:v>1</c:v>
                </c:pt>
                <c:pt idx="35">
                  <c:v>2</c:v>
                </c:pt>
                <c:pt idx="36">
                  <c:v>1</c:v>
                </c:pt>
                <c:pt idx="37">
                  <c:v>0</c:v>
                </c:pt>
                <c:pt idx="38">
                  <c:v>2</c:v>
                </c:pt>
                <c:pt idx="39">
                  <c:v>3</c:v>
                </c:pt>
                <c:pt idx="40">
                  <c:v>1</c:v>
                </c:pt>
                <c:pt idx="41">
                  <c:v>3</c:v>
                </c:pt>
                <c:pt idx="42">
                  <c:v>7</c:v>
                </c:pt>
                <c:pt idx="43">
                  <c:v>2</c:v>
                </c:pt>
                <c:pt idx="44">
                  <c:v>1</c:v>
                </c:pt>
                <c:pt idx="45">
                  <c:v>12</c:v>
                </c:pt>
                <c:pt idx="46">
                  <c:v>8</c:v>
                </c:pt>
                <c:pt idx="47">
                  <c:v>11</c:v>
                </c:pt>
                <c:pt idx="48">
                  <c:v>7</c:v>
                </c:pt>
                <c:pt idx="49">
                  <c:v>11</c:v>
                </c:pt>
                <c:pt idx="50">
                  <c:v>0</c:v>
                </c:pt>
                <c:pt idx="51">
                  <c:v>4</c:v>
                </c:pt>
                <c:pt idx="52">
                  <c:v>20</c:v>
                </c:pt>
                <c:pt idx="53">
                  <c:v>6</c:v>
                </c:pt>
                <c:pt idx="54">
                  <c:v>18</c:v>
                </c:pt>
                <c:pt idx="55">
                  <c:v>3</c:v>
                </c:pt>
                <c:pt idx="56">
                  <c:v>8</c:v>
                </c:pt>
                <c:pt idx="57">
                  <c:v>5</c:v>
                </c:pt>
                <c:pt idx="58">
                  <c:v>4</c:v>
                </c:pt>
                <c:pt idx="59">
                  <c:v>41</c:v>
                </c:pt>
                <c:pt idx="60">
                  <c:v>26</c:v>
                </c:pt>
                <c:pt idx="61">
                  <c:v>21</c:v>
                </c:pt>
                <c:pt idx="62">
                  <c:v>25</c:v>
                </c:pt>
                <c:pt idx="63">
                  <c:v>27</c:v>
                </c:pt>
                <c:pt idx="64">
                  <c:v>13</c:v>
                </c:pt>
                <c:pt idx="65">
                  <c:v>5</c:v>
                </c:pt>
                <c:pt idx="66">
                  <c:v>54</c:v>
                </c:pt>
                <c:pt idx="67">
                  <c:v>28</c:v>
                </c:pt>
                <c:pt idx="68">
                  <c:v>31</c:v>
                </c:pt>
                <c:pt idx="69">
                  <c:v>38</c:v>
                </c:pt>
                <c:pt idx="70">
                  <c:v>34</c:v>
                </c:pt>
                <c:pt idx="71">
                  <c:v>20</c:v>
                </c:pt>
                <c:pt idx="72">
                  <c:v>14</c:v>
                </c:pt>
                <c:pt idx="73">
                  <c:v>58</c:v>
                </c:pt>
                <c:pt idx="74">
                  <c:v>35</c:v>
                </c:pt>
                <c:pt idx="75">
                  <c:v>14</c:v>
                </c:pt>
                <c:pt idx="76">
                  <c:v>43</c:v>
                </c:pt>
                <c:pt idx="77">
                  <c:v>52</c:v>
                </c:pt>
                <c:pt idx="78">
                  <c:v>13</c:v>
                </c:pt>
                <c:pt idx="79">
                  <c:v>7</c:v>
                </c:pt>
                <c:pt idx="80">
                  <c:v>74</c:v>
                </c:pt>
                <c:pt idx="81">
                  <c:v>44</c:v>
                </c:pt>
                <c:pt idx="82">
                  <c:v>50</c:v>
                </c:pt>
                <c:pt idx="83">
                  <c:v>49</c:v>
                </c:pt>
                <c:pt idx="84">
                  <c:v>51</c:v>
                </c:pt>
                <c:pt idx="85">
                  <c:v>22</c:v>
                </c:pt>
                <c:pt idx="86">
                  <c:v>7</c:v>
                </c:pt>
                <c:pt idx="87">
                  <c:v>45</c:v>
                </c:pt>
                <c:pt idx="88">
                  <c:v>48</c:v>
                </c:pt>
                <c:pt idx="89">
                  <c:v>43</c:v>
                </c:pt>
                <c:pt idx="90">
                  <c:v>33</c:v>
                </c:pt>
                <c:pt idx="91">
                  <c:v>30</c:v>
                </c:pt>
                <c:pt idx="92">
                  <c:v>21</c:v>
                </c:pt>
                <c:pt idx="93">
                  <c:v>10</c:v>
                </c:pt>
                <c:pt idx="94">
                  <c:v>51</c:v>
                </c:pt>
                <c:pt idx="95">
                  <c:v>36</c:v>
                </c:pt>
                <c:pt idx="96">
                  <c:v>35</c:v>
                </c:pt>
                <c:pt idx="97">
                  <c:v>26</c:v>
                </c:pt>
                <c:pt idx="98">
                  <c:v>19</c:v>
                </c:pt>
                <c:pt idx="99">
                  <c:v>13</c:v>
                </c:pt>
                <c:pt idx="100">
                  <c:v>9</c:v>
                </c:pt>
                <c:pt idx="101">
                  <c:v>35</c:v>
                </c:pt>
                <c:pt idx="102">
                  <c:v>37</c:v>
                </c:pt>
                <c:pt idx="103">
                  <c:v>28</c:v>
                </c:pt>
                <c:pt idx="104">
                  <c:v>18</c:v>
                </c:pt>
                <c:pt idx="105">
                  <c:v>16</c:v>
                </c:pt>
                <c:pt idx="106">
                  <c:v>8</c:v>
                </c:pt>
                <c:pt idx="107">
                  <c:v>10</c:v>
                </c:pt>
                <c:pt idx="108">
                  <c:v>28</c:v>
                </c:pt>
                <c:pt idx="109">
                  <c:v>13</c:v>
                </c:pt>
                <c:pt idx="110">
                  <c:v>9</c:v>
                </c:pt>
                <c:pt idx="111">
                  <c:v>4</c:v>
                </c:pt>
                <c:pt idx="112">
                  <c:v>7</c:v>
                </c:pt>
                <c:pt idx="113">
                  <c:v>3</c:v>
                </c:pt>
                <c:pt idx="114">
                  <c:v>5</c:v>
                </c:pt>
                <c:pt idx="115">
                  <c:v>10</c:v>
                </c:pt>
                <c:pt idx="116">
                  <c:v>17</c:v>
                </c:pt>
                <c:pt idx="117">
                  <c:v>10</c:v>
                </c:pt>
                <c:pt idx="118">
                  <c:v>10</c:v>
                </c:pt>
                <c:pt idx="119">
                  <c:v>6</c:v>
                </c:pt>
                <c:pt idx="120">
                  <c:v>1</c:v>
                </c:pt>
                <c:pt idx="121">
                  <c:v>4</c:v>
                </c:pt>
                <c:pt idx="122">
                  <c:v>20</c:v>
                </c:pt>
                <c:pt idx="123">
                  <c:v>14</c:v>
                </c:pt>
                <c:pt idx="124">
                  <c:v>5</c:v>
                </c:pt>
                <c:pt idx="125">
                  <c:v>9</c:v>
                </c:pt>
                <c:pt idx="126">
                  <c:v>11</c:v>
                </c:pt>
                <c:pt idx="127">
                  <c:v>3</c:v>
                </c:pt>
                <c:pt idx="128">
                  <c:v>3</c:v>
                </c:pt>
                <c:pt idx="129">
                  <c:v>19</c:v>
                </c:pt>
                <c:pt idx="130">
                  <c:v>11</c:v>
                </c:pt>
                <c:pt idx="131">
                  <c:v>9</c:v>
                </c:pt>
                <c:pt idx="132">
                  <c:v>13</c:v>
                </c:pt>
                <c:pt idx="133">
                  <c:v>13</c:v>
                </c:pt>
                <c:pt idx="134">
                  <c:v>6</c:v>
                </c:pt>
                <c:pt idx="135">
                  <c:v>11</c:v>
                </c:pt>
                <c:pt idx="136">
                  <c:v>47</c:v>
                </c:pt>
                <c:pt idx="137">
                  <c:v>35</c:v>
                </c:pt>
                <c:pt idx="138">
                  <c:v>42</c:v>
                </c:pt>
                <c:pt idx="139">
                  <c:v>48</c:v>
                </c:pt>
                <c:pt idx="140">
                  <c:v>68</c:v>
                </c:pt>
                <c:pt idx="141">
                  <c:v>20</c:v>
                </c:pt>
                <c:pt idx="142">
                  <c:v>16</c:v>
                </c:pt>
                <c:pt idx="143">
                  <c:v>95</c:v>
                </c:pt>
                <c:pt idx="144">
                  <c:v>104</c:v>
                </c:pt>
                <c:pt idx="145">
                  <c:v>100</c:v>
                </c:pt>
                <c:pt idx="146">
                  <c:v>59</c:v>
                </c:pt>
                <c:pt idx="147">
                  <c:v>74</c:v>
                </c:pt>
                <c:pt idx="148">
                  <c:v>30</c:v>
                </c:pt>
                <c:pt idx="149">
                  <c:v>31</c:v>
                </c:pt>
                <c:pt idx="150">
                  <c:v>117</c:v>
                </c:pt>
                <c:pt idx="151">
                  <c:v>117</c:v>
                </c:pt>
                <c:pt idx="152">
                  <c:v>83</c:v>
                </c:pt>
                <c:pt idx="153">
                  <c:v>71</c:v>
                </c:pt>
                <c:pt idx="154">
                  <c:v>84</c:v>
                </c:pt>
                <c:pt idx="155">
                  <c:v>32</c:v>
                </c:pt>
                <c:pt idx="156">
                  <c:v>25</c:v>
                </c:pt>
                <c:pt idx="157">
                  <c:v>133</c:v>
                </c:pt>
                <c:pt idx="158">
                  <c:v>92</c:v>
                </c:pt>
                <c:pt idx="159">
                  <c:v>64</c:v>
                </c:pt>
                <c:pt idx="160" formatCode="General">
                  <c:v>69</c:v>
                </c:pt>
                <c:pt idx="161" formatCode="General">
                  <c:v>52</c:v>
                </c:pt>
                <c:pt idx="162" formatCode="General">
                  <c:v>23</c:v>
                </c:pt>
                <c:pt idx="163" formatCode="General">
                  <c:v>27</c:v>
                </c:pt>
                <c:pt idx="164" formatCode="General">
                  <c:v>90</c:v>
                </c:pt>
                <c:pt idx="165" formatCode="General">
                  <c:v>73</c:v>
                </c:pt>
                <c:pt idx="166" formatCode="General">
                  <c:v>69</c:v>
                </c:pt>
                <c:pt idx="167" formatCode="General">
                  <c:v>41</c:v>
                </c:pt>
                <c:pt idx="168" formatCode="General">
                  <c:v>30</c:v>
                </c:pt>
                <c:pt idx="169" formatCode="General">
                  <c:v>24</c:v>
                </c:pt>
                <c:pt idx="170" formatCode="General">
                  <c:v>11</c:v>
                </c:pt>
                <c:pt idx="171" formatCode="General">
                  <c:v>63</c:v>
                </c:pt>
                <c:pt idx="172" formatCode="General">
                  <c:v>40</c:v>
                </c:pt>
                <c:pt idx="173" formatCode="General">
                  <c:v>42</c:v>
                </c:pt>
                <c:pt idx="174" formatCode="General">
                  <c:v>35</c:v>
                </c:pt>
                <c:pt idx="175" formatCode="General">
                  <c:v>33</c:v>
                </c:pt>
                <c:pt idx="176" formatCode="General">
                  <c:v>16</c:v>
                </c:pt>
                <c:pt idx="177" formatCode="General">
                  <c:v>13</c:v>
                </c:pt>
                <c:pt idx="178" formatCode="General">
                  <c:v>42</c:v>
                </c:pt>
                <c:pt idx="179" formatCode="General">
                  <c:v>37</c:v>
                </c:pt>
                <c:pt idx="180" formatCode="General">
                  <c:v>24</c:v>
                </c:pt>
                <c:pt idx="181" formatCode="General">
                  <c:v>18</c:v>
                </c:pt>
                <c:pt idx="182" formatCode="General">
                  <c:v>1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D32B-4678-9FFD-46841F3CB3B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0"/>
        <c:overlap val="-27"/>
        <c:axId val="529925759"/>
        <c:axId val="533925071"/>
      </c:barChart>
      <c:dateAx>
        <c:axId val="529925759"/>
        <c:scaling>
          <c:orientation val="minMax"/>
        </c:scaling>
        <c:delete val="0"/>
        <c:axPos val="b"/>
        <c:numFmt formatCode="dd/mm/yy;@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3600000" spcFirstLastPara="1" vertOverflow="ellipsis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533925071"/>
        <c:crosses val="autoZero"/>
        <c:auto val="1"/>
        <c:lblOffset val="100"/>
        <c:baseTimeUnit val="days"/>
        <c:majorUnit val="7"/>
        <c:majorTimeUnit val="days"/>
      </c:dateAx>
      <c:valAx>
        <c:axId val="533925071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bg1">
                  <a:lumMod val="85000"/>
                </a:schemeClr>
              </a:solidFill>
              <a:round/>
            </a:ln>
            <a:effectLst/>
          </c:spPr>
        </c:majorGridlines>
        <c:numFmt formatCode="#\ ##0_ ;\-#\ ##0\ 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529925759"/>
        <c:crosses val="autoZero"/>
        <c:crossBetween val="between"/>
        <c:majorUnit val="5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63305263600732"/>
          <c:y val="0.15289779551144775"/>
          <c:w val="0.79684300815915377"/>
          <c:h val="0.80416535940744349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S posilující dávkou</c:v>
                </c:pt>
              </c:strCache>
            </c:strRef>
          </c:tx>
          <c:spPr>
            <a:solidFill>
              <a:schemeClr val="tx2">
                <a:lumMod val="75000"/>
              </a:schemeClr>
            </a:solidFill>
            <a:ln>
              <a:noFill/>
            </a:ln>
            <a:effectLst/>
          </c:spPr>
          <c:invertIfNegative val="0"/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12</c:f>
              <c:strCache>
                <c:ptCount val="11"/>
                <c:pt idx="0">
                  <c:v>Lékaři</c:v>
                </c:pt>
                <c:pt idx="1">
                  <c:v>Sestry</c:v>
                </c:pt>
                <c:pt idx="2">
                  <c:v>Ostatní ZP</c:v>
                </c:pt>
                <c:pt idx="3">
                  <c:v>   farmaceuti</c:v>
                </c:pt>
                <c:pt idx="4">
                  <c:v>   § 36 Ošetřovatel</c:v>
                </c:pt>
                <c:pt idx="5">
                  <c:v>   § 42 Sanitář</c:v>
                </c:pt>
                <c:pt idx="6">
                  <c:v>   § 18 Zdravotnický záchranář</c:v>
                </c:pt>
                <c:pt idx="7">
                  <c:v>   § 24 Fyzioterapeut</c:v>
                </c:pt>
                <c:pt idx="8">
                  <c:v>   laboratorní pracovníci</c:v>
                </c:pt>
                <c:pt idx="9">
                  <c:v>   ostatní NLZP</c:v>
                </c:pt>
                <c:pt idx="10">
                  <c:v>CELKEM</c:v>
                </c:pt>
              </c:strCache>
            </c:strRef>
          </c:cat>
          <c:val>
            <c:numRef>
              <c:f>List1!$B$2:$B$12</c:f>
              <c:numCache>
                <c:formatCode>General</c:formatCode>
                <c:ptCount val="11"/>
                <c:pt idx="0">
                  <c:v>74.895300000000006</c:v>
                </c:pt>
                <c:pt idx="1">
                  <c:v>61.295780000000001</c:v>
                </c:pt>
                <c:pt idx="2">
                  <c:v>56.233849999999997</c:v>
                </c:pt>
                <c:pt idx="3">
                  <c:v>55.891620000000003</c:v>
                </c:pt>
                <c:pt idx="4">
                  <c:v>54.108750000000001</c:v>
                </c:pt>
                <c:pt idx="5">
                  <c:v>56.822400000000002</c:v>
                </c:pt>
                <c:pt idx="6">
                  <c:v>66.798770000000005</c:v>
                </c:pt>
                <c:pt idx="7">
                  <c:v>50.984189999999998</c:v>
                </c:pt>
                <c:pt idx="8">
                  <c:v>57.412199999999999</c:v>
                </c:pt>
                <c:pt idx="9">
                  <c:v>56.417020000000001</c:v>
                </c:pt>
                <c:pt idx="10">
                  <c:v>62.26747000000000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7DA-4934-90AD-68162997E19E}"/>
            </c:ext>
          </c:extLst>
        </c:ser>
        <c:ser>
          <c:idx val="1"/>
          <c:order val="1"/>
          <c:tx>
            <c:strRef>
              <c:f>List1!$C$1</c:f>
              <c:strCache>
                <c:ptCount val="1"/>
                <c:pt idx="0">
                  <c:v>S ukončovací dávkou</c:v>
                </c:pt>
              </c:strCache>
            </c:strRef>
          </c:tx>
          <c:spPr>
            <a:solidFill>
              <a:schemeClr val="tx2"/>
            </a:solidFill>
            <a:ln>
              <a:noFill/>
            </a:ln>
            <a:effectLst/>
          </c:spPr>
          <c:invertIfNegative val="0"/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12</c:f>
              <c:strCache>
                <c:ptCount val="11"/>
                <c:pt idx="0">
                  <c:v>Lékaři</c:v>
                </c:pt>
                <c:pt idx="1">
                  <c:v>Sestry</c:v>
                </c:pt>
                <c:pt idx="2">
                  <c:v>Ostatní ZP</c:v>
                </c:pt>
                <c:pt idx="3">
                  <c:v>   farmaceuti</c:v>
                </c:pt>
                <c:pt idx="4">
                  <c:v>   § 36 Ošetřovatel</c:v>
                </c:pt>
                <c:pt idx="5">
                  <c:v>   § 42 Sanitář</c:v>
                </c:pt>
                <c:pt idx="6">
                  <c:v>   § 18 Zdravotnický záchranář</c:v>
                </c:pt>
                <c:pt idx="7">
                  <c:v>   § 24 Fyzioterapeut</c:v>
                </c:pt>
                <c:pt idx="8">
                  <c:v>   laboratorní pracovníci</c:v>
                </c:pt>
                <c:pt idx="9">
                  <c:v>   ostatní NLZP</c:v>
                </c:pt>
                <c:pt idx="10">
                  <c:v>CELKEM</c:v>
                </c:pt>
              </c:strCache>
            </c:strRef>
          </c:cat>
          <c:val>
            <c:numRef>
              <c:f>List1!$C$2:$C$12</c:f>
              <c:numCache>
                <c:formatCode>General</c:formatCode>
                <c:ptCount val="11"/>
                <c:pt idx="0">
                  <c:v>12.888909999999999</c:v>
                </c:pt>
                <c:pt idx="1">
                  <c:v>22.068259999999999</c:v>
                </c:pt>
                <c:pt idx="2">
                  <c:v>24.423970000000001</c:v>
                </c:pt>
                <c:pt idx="3">
                  <c:v>23.391439999999999</c:v>
                </c:pt>
                <c:pt idx="4">
                  <c:v>25.56748</c:v>
                </c:pt>
                <c:pt idx="5">
                  <c:v>24.938120000000001</c:v>
                </c:pt>
                <c:pt idx="6">
                  <c:v>19.66094</c:v>
                </c:pt>
                <c:pt idx="7">
                  <c:v>24.965039999999998</c:v>
                </c:pt>
                <c:pt idx="8">
                  <c:v>24.659680000000002</c:v>
                </c:pt>
                <c:pt idx="9">
                  <c:v>24.640619999999998</c:v>
                </c:pt>
                <c:pt idx="10">
                  <c:v>21.02000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37DA-4934-90AD-68162997E19E}"/>
            </c:ext>
          </c:extLst>
        </c:ser>
        <c:ser>
          <c:idx val="2"/>
          <c:order val="2"/>
          <c:tx>
            <c:strRef>
              <c:f>List1!$D$1</c:f>
              <c:strCache>
                <c:ptCount val="1"/>
                <c:pt idx="0">
                  <c:v>Pouze s 1. dávkou</c:v>
                </c:pt>
              </c:strCache>
            </c:strRef>
          </c:tx>
          <c:spPr>
            <a:solidFill>
              <a:schemeClr val="tx2">
                <a:lumMod val="20000"/>
                <a:lumOff val="80000"/>
              </a:schemeClr>
            </a:solidFill>
            <a:ln>
              <a:noFill/>
            </a:ln>
            <a:effectLst/>
          </c:spPr>
          <c:invertIfNegative val="0"/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12</c:f>
              <c:strCache>
                <c:ptCount val="11"/>
                <c:pt idx="0">
                  <c:v>Lékaři</c:v>
                </c:pt>
                <c:pt idx="1">
                  <c:v>Sestry</c:v>
                </c:pt>
                <c:pt idx="2">
                  <c:v>Ostatní ZP</c:v>
                </c:pt>
                <c:pt idx="3">
                  <c:v>   farmaceuti</c:v>
                </c:pt>
                <c:pt idx="4">
                  <c:v>   § 36 Ošetřovatel</c:v>
                </c:pt>
                <c:pt idx="5">
                  <c:v>   § 42 Sanitář</c:v>
                </c:pt>
                <c:pt idx="6">
                  <c:v>   § 18 Zdravotnický záchranář</c:v>
                </c:pt>
                <c:pt idx="7">
                  <c:v>   § 24 Fyzioterapeut</c:v>
                </c:pt>
                <c:pt idx="8">
                  <c:v>   laboratorní pracovníci</c:v>
                </c:pt>
                <c:pt idx="9">
                  <c:v>   ostatní NLZP</c:v>
                </c:pt>
                <c:pt idx="10">
                  <c:v>CELKEM</c:v>
                </c:pt>
              </c:strCache>
            </c:strRef>
          </c:cat>
          <c:val>
            <c:numRef>
              <c:f>List1!$D$2:$D$12</c:f>
              <c:numCache>
                <c:formatCode>General</c:formatCode>
                <c:ptCount val="11"/>
                <c:pt idx="0">
                  <c:v>0.342302</c:v>
                </c:pt>
                <c:pt idx="1">
                  <c:v>0.57267129999999999</c:v>
                </c:pt>
                <c:pt idx="2">
                  <c:v>0.55142880000000005</c:v>
                </c:pt>
                <c:pt idx="3">
                  <c:v>0.57410910000000004</c:v>
                </c:pt>
                <c:pt idx="4">
                  <c:v>0.86222069999999995</c:v>
                </c:pt>
                <c:pt idx="5">
                  <c:v>0.5569307</c:v>
                </c:pt>
                <c:pt idx="6">
                  <c:v>0.50638490000000003</c:v>
                </c:pt>
                <c:pt idx="7">
                  <c:v>0.59158869999999997</c:v>
                </c:pt>
                <c:pt idx="8">
                  <c:v>0.54451400000000005</c:v>
                </c:pt>
                <c:pt idx="9">
                  <c:v>0.46660699999999999</c:v>
                </c:pt>
                <c:pt idx="10">
                  <c:v>0.516642900000000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37DA-4934-90AD-68162997E19E}"/>
            </c:ext>
          </c:extLst>
        </c:ser>
        <c:ser>
          <c:idx val="3"/>
          <c:order val="3"/>
          <c:tx>
            <c:strRef>
              <c:f>List1!$E$1</c:f>
              <c:strCache>
                <c:ptCount val="1"/>
                <c:pt idx="0">
                  <c:v>Prodělali onemocnění</c:v>
                </c:pt>
              </c:strCache>
            </c:strRef>
          </c:tx>
          <c:spPr>
            <a:solidFill>
              <a:schemeClr val="accent4">
                <a:lumMod val="20000"/>
                <a:lumOff val="80000"/>
              </a:schemeClr>
            </a:solidFill>
            <a:ln>
              <a:noFill/>
            </a:ln>
            <a:effectLst/>
          </c:spPr>
          <c:invertIfNegative val="0"/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12</c:f>
              <c:strCache>
                <c:ptCount val="11"/>
                <c:pt idx="0">
                  <c:v>Lékaři</c:v>
                </c:pt>
                <c:pt idx="1">
                  <c:v>Sestry</c:v>
                </c:pt>
                <c:pt idx="2">
                  <c:v>Ostatní ZP</c:v>
                </c:pt>
                <c:pt idx="3">
                  <c:v>   farmaceuti</c:v>
                </c:pt>
                <c:pt idx="4">
                  <c:v>   § 36 Ošetřovatel</c:v>
                </c:pt>
                <c:pt idx="5">
                  <c:v>   § 42 Sanitář</c:v>
                </c:pt>
                <c:pt idx="6">
                  <c:v>   § 18 Zdravotnický záchranář</c:v>
                </c:pt>
                <c:pt idx="7">
                  <c:v>   § 24 Fyzioterapeut</c:v>
                </c:pt>
                <c:pt idx="8">
                  <c:v>   laboratorní pracovníci</c:v>
                </c:pt>
                <c:pt idx="9">
                  <c:v>   ostatní NLZP</c:v>
                </c:pt>
                <c:pt idx="10">
                  <c:v>CELKEM</c:v>
                </c:pt>
              </c:strCache>
            </c:strRef>
          </c:cat>
          <c:val>
            <c:numRef>
              <c:f>List1!$E$2:$E$12</c:f>
              <c:numCache>
                <c:formatCode>General</c:formatCode>
                <c:ptCount val="11"/>
                <c:pt idx="0">
                  <c:v>3.277685</c:v>
                </c:pt>
                <c:pt idx="1">
                  <c:v>9.524578</c:v>
                </c:pt>
                <c:pt idx="2">
                  <c:v>10.2209</c:v>
                </c:pt>
                <c:pt idx="3">
                  <c:v>9.7808580000000003</c:v>
                </c:pt>
                <c:pt idx="4">
                  <c:v>11.613580000000001</c:v>
                </c:pt>
                <c:pt idx="5">
                  <c:v>10.078900000000001</c:v>
                </c:pt>
                <c:pt idx="6">
                  <c:v>7.2655219999999998</c:v>
                </c:pt>
                <c:pt idx="7">
                  <c:v>12.38034</c:v>
                </c:pt>
                <c:pt idx="8">
                  <c:v>10.21644</c:v>
                </c:pt>
                <c:pt idx="9">
                  <c:v>9.6384969999999992</c:v>
                </c:pt>
                <c:pt idx="10">
                  <c:v>8.475823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37DA-4934-90AD-68162997E19E}"/>
            </c:ext>
          </c:extLst>
        </c:ser>
        <c:ser>
          <c:idx val="4"/>
          <c:order val="4"/>
          <c:tx>
            <c:strRef>
              <c:f>List1!$F$1</c:f>
              <c:strCache>
                <c:ptCount val="1"/>
                <c:pt idx="0">
                  <c:v>Ostatní</c:v>
                </c:pt>
              </c:strCache>
            </c:strRef>
          </c:tx>
          <c:spPr>
            <a:solidFill>
              <a:schemeClr val="bg1">
                <a:lumMod val="95000"/>
              </a:schemeClr>
            </a:solidFill>
            <a:ln>
              <a:noFill/>
            </a:ln>
            <a:effectLst/>
          </c:spPr>
          <c:invertIfNegative val="0"/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12</c:f>
              <c:strCache>
                <c:ptCount val="11"/>
                <c:pt idx="0">
                  <c:v>Lékaři</c:v>
                </c:pt>
                <c:pt idx="1">
                  <c:v>Sestry</c:v>
                </c:pt>
                <c:pt idx="2">
                  <c:v>Ostatní ZP</c:v>
                </c:pt>
                <c:pt idx="3">
                  <c:v>   farmaceuti</c:v>
                </c:pt>
                <c:pt idx="4">
                  <c:v>   § 36 Ošetřovatel</c:v>
                </c:pt>
                <c:pt idx="5">
                  <c:v>   § 42 Sanitář</c:v>
                </c:pt>
                <c:pt idx="6">
                  <c:v>   § 18 Zdravotnický záchranář</c:v>
                </c:pt>
                <c:pt idx="7">
                  <c:v>   § 24 Fyzioterapeut</c:v>
                </c:pt>
                <c:pt idx="8">
                  <c:v>   laboratorní pracovníci</c:v>
                </c:pt>
                <c:pt idx="9">
                  <c:v>   ostatní NLZP</c:v>
                </c:pt>
                <c:pt idx="10">
                  <c:v>CELKEM</c:v>
                </c:pt>
              </c:strCache>
            </c:strRef>
          </c:cat>
          <c:val>
            <c:numRef>
              <c:f>List1!$F$2:$F$12</c:f>
              <c:numCache>
                <c:formatCode>General</c:formatCode>
                <c:ptCount val="11"/>
                <c:pt idx="0">
                  <c:v>8.5957969999999992</c:v>
                </c:pt>
                <c:pt idx="1">
                  <c:v>6.53871</c:v>
                </c:pt>
                <c:pt idx="2">
                  <c:v>8.5698530000000002</c:v>
                </c:pt>
                <c:pt idx="3">
                  <c:v>10.361969999999999</c:v>
                </c:pt>
                <c:pt idx="4">
                  <c:v>7.8479679999999998</c:v>
                </c:pt>
                <c:pt idx="5">
                  <c:v>7.6036510000000002</c:v>
                </c:pt>
                <c:pt idx="6">
                  <c:v>5.7683840000000002</c:v>
                </c:pt>
                <c:pt idx="7">
                  <c:v>11.07884</c:v>
                </c:pt>
                <c:pt idx="8">
                  <c:v>7.1671659999999999</c:v>
                </c:pt>
                <c:pt idx="9">
                  <c:v>8.8372530000000005</c:v>
                </c:pt>
                <c:pt idx="10">
                  <c:v>7.720053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37DA-4934-90AD-68162997E19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0"/>
        <c:overlap val="100"/>
        <c:axId val="159492928"/>
        <c:axId val="160289136"/>
      </c:barChart>
      <c:catAx>
        <c:axId val="159492928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one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60289136"/>
        <c:crosses val="autoZero"/>
        <c:auto val="1"/>
        <c:lblAlgn val="ctr"/>
        <c:lblOffset val="100"/>
        <c:noMultiLvlLbl val="0"/>
      </c:catAx>
      <c:valAx>
        <c:axId val="160289136"/>
        <c:scaling>
          <c:orientation val="minMax"/>
          <c:max val="100"/>
        </c:scaling>
        <c:delete val="0"/>
        <c:axPos val="t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59492928"/>
        <c:crosses val="autoZero"/>
        <c:crossBetween val="between"/>
        <c:majorUnit val="5"/>
      </c:val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1.368428679273505E-2"/>
          <c:y val="5.0081916086988656E-2"/>
          <c:w val="0.98087724341670113"/>
          <c:h val="4.2435842974244235E-2"/>
        </c:manualLayout>
      </c:layout>
      <c:overlay val="0"/>
      <c:spPr>
        <a:solidFill>
          <a:schemeClr val="bg1"/>
        </a:solidFill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1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2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519856463840257E-2"/>
          <c:y val="1.7338673528478215E-2"/>
          <c:w val="0.80334957098880577"/>
          <c:h val="0.7587762916834988"/>
        </c:manualLayout>
      </c:layout>
      <c:lineChart>
        <c:grouping val="standar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2020</c:v>
                </c:pt>
              </c:strCache>
            </c:strRef>
          </c:tx>
          <c:spPr>
            <a:ln w="28575" cap="rnd">
              <a:solidFill>
                <a:srgbClr val="00B0F0"/>
              </a:solidFill>
              <a:prstDash val="sysDash"/>
              <a:round/>
            </a:ln>
            <a:effectLst/>
          </c:spPr>
          <c:marker>
            <c:symbol val="none"/>
          </c:marker>
          <c:cat>
            <c:strRef>
              <c:f>List1!$B$1:$BB$1</c:f>
              <c:strCache>
                <c:ptCount val="53"/>
                <c:pt idx="0">
                  <c:v>01.01 - 07.01</c:v>
                </c:pt>
                <c:pt idx="1">
                  <c:v>08.01 - 14.01</c:v>
                </c:pt>
                <c:pt idx="2">
                  <c:v>15.01 - 21.01</c:v>
                </c:pt>
                <c:pt idx="3">
                  <c:v>22.01 - 28.01</c:v>
                </c:pt>
                <c:pt idx="4">
                  <c:v>29.01 - 04.02</c:v>
                </c:pt>
                <c:pt idx="5">
                  <c:v>05.02 - 11.02</c:v>
                </c:pt>
                <c:pt idx="6">
                  <c:v>12.02 - 18.02</c:v>
                </c:pt>
                <c:pt idx="7">
                  <c:v>19.02 - 25.02</c:v>
                </c:pt>
                <c:pt idx="8">
                  <c:v>26.02 - 04.03</c:v>
                </c:pt>
                <c:pt idx="9">
                  <c:v>05.03 - 10.03</c:v>
                </c:pt>
                <c:pt idx="10">
                  <c:v>11.03 - 17.03</c:v>
                </c:pt>
                <c:pt idx="11">
                  <c:v>18.03 - 24.03</c:v>
                </c:pt>
                <c:pt idx="12">
                  <c:v>25.03 - 31.03</c:v>
                </c:pt>
                <c:pt idx="13">
                  <c:v>01.04 - 07.04</c:v>
                </c:pt>
                <c:pt idx="14">
                  <c:v>08.04 - 14.04</c:v>
                </c:pt>
                <c:pt idx="15">
                  <c:v>15.04 - 21.04</c:v>
                </c:pt>
                <c:pt idx="16">
                  <c:v>22.04 - 28.04</c:v>
                </c:pt>
                <c:pt idx="17">
                  <c:v>29.04 - 05.05</c:v>
                </c:pt>
                <c:pt idx="18">
                  <c:v>06.05 - 12.05</c:v>
                </c:pt>
                <c:pt idx="19">
                  <c:v>13.05 - 19.05</c:v>
                </c:pt>
                <c:pt idx="20">
                  <c:v>20.05 - 26.05</c:v>
                </c:pt>
                <c:pt idx="21">
                  <c:v>27.05 - 02.06</c:v>
                </c:pt>
                <c:pt idx="22">
                  <c:v>03.06 - 09.06</c:v>
                </c:pt>
                <c:pt idx="23">
                  <c:v>10.06 - 16.06</c:v>
                </c:pt>
                <c:pt idx="24">
                  <c:v>17.06 - 23.06</c:v>
                </c:pt>
                <c:pt idx="25">
                  <c:v>24.06 - 30.06</c:v>
                </c:pt>
                <c:pt idx="26">
                  <c:v>01.07 - 07.07</c:v>
                </c:pt>
                <c:pt idx="27">
                  <c:v>08.07 - 14.07</c:v>
                </c:pt>
                <c:pt idx="28">
                  <c:v>15.07 - 21.07</c:v>
                </c:pt>
                <c:pt idx="29">
                  <c:v>22.07 - 28.07</c:v>
                </c:pt>
                <c:pt idx="30">
                  <c:v>29.07 - 04.08</c:v>
                </c:pt>
                <c:pt idx="31">
                  <c:v>05.08 - 11.08</c:v>
                </c:pt>
                <c:pt idx="32">
                  <c:v>12.08 - 18.08</c:v>
                </c:pt>
                <c:pt idx="33">
                  <c:v>19.08 - 25.08</c:v>
                </c:pt>
                <c:pt idx="34">
                  <c:v>26.08 - 01.09</c:v>
                </c:pt>
                <c:pt idx="35">
                  <c:v>02.09 - 08.09</c:v>
                </c:pt>
                <c:pt idx="36">
                  <c:v>09.09 - 15.09</c:v>
                </c:pt>
                <c:pt idx="37">
                  <c:v>16.09 - 22.09</c:v>
                </c:pt>
                <c:pt idx="38">
                  <c:v>23.09 - 29.09</c:v>
                </c:pt>
                <c:pt idx="39">
                  <c:v>30.09 - 06.10</c:v>
                </c:pt>
                <c:pt idx="40">
                  <c:v>07.10 - 13.10</c:v>
                </c:pt>
                <c:pt idx="41">
                  <c:v>14.10 - 20.10</c:v>
                </c:pt>
                <c:pt idx="42">
                  <c:v>21.10 - 27.10</c:v>
                </c:pt>
                <c:pt idx="43">
                  <c:v>28.10 - 03.11</c:v>
                </c:pt>
                <c:pt idx="44">
                  <c:v>04.11 - 10.11</c:v>
                </c:pt>
                <c:pt idx="45">
                  <c:v>11.11 - 17.11</c:v>
                </c:pt>
                <c:pt idx="46">
                  <c:v>18.11 - 24.11</c:v>
                </c:pt>
                <c:pt idx="47">
                  <c:v>25.11 - 01.12</c:v>
                </c:pt>
                <c:pt idx="48">
                  <c:v>02.12 - 08.12</c:v>
                </c:pt>
                <c:pt idx="49">
                  <c:v>09.12 - 15.12</c:v>
                </c:pt>
                <c:pt idx="50">
                  <c:v>16.12 - 22.12</c:v>
                </c:pt>
                <c:pt idx="51">
                  <c:v>23.12 - 29.12</c:v>
                </c:pt>
                <c:pt idx="52">
                  <c:v>30.12 - 31.12</c:v>
                </c:pt>
              </c:strCache>
            </c:strRef>
          </c:cat>
          <c:val>
            <c:numRef>
              <c:f>List1!$B$2:$BB$2</c:f>
              <c:numCache>
                <c:formatCode>General</c:formatCode>
                <c:ptCount val="53"/>
                <c:pt idx="34">
                  <c:v>0.41781269999999998</c:v>
                </c:pt>
                <c:pt idx="35">
                  <c:v>0.55708360000000001</c:v>
                </c:pt>
                <c:pt idx="36">
                  <c:v>1.3927091</c:v>
                </c:pt>
                <c:pt idx="37">
                  <c:v>3.3425020000000001</c:v>
                </c:pt>
                <c:pt idx="38">
                  <c:v>8.0777131000000004</c:v>
                </c:pt>
                <c:pt idx="39">
                  <c:v>48.6055499</c:v>
                </c:pt>
                <c:pt idx="40">
                  <c:v>89.133386700000003</c:v>
                </c:pt>
                <c:pt idx="41">
                  <c:v>165.45384899999999</c:v>
                </c:pt>
                <c:pt idx="42">
                  <c:v>271.1604749</c:v>
                </c:pt>
                <c:pt idx="43">
                  <c:v>255.97994489999999</c:v>
                </c:pt>
                <c:pt idx="44">
                  <c:v>206.12095669999999</c:v>
                </c:pt>
                <c:pt idx="45">
                  <c:v>152.9194665</c:v>
                </c:pt>
                <c:pt idx="46">
                  <c:v>105.7066258</c:v>
                </c:pt>
                <c:pt idx="47">
                  <c:v>67.685665499999999</c:v>
                </c:pt>
                <c:pt idx="48">
                  <c:v>69.914000200000004</c:v>
                </c:pt>
                <c:pt idx="49">
                  <c:v>64.343163500000003</c:v>
                </c:pt>
                <c:pt idx="50">
                  <c:v>81.891299000000004</c:v>
                </c:pt>
                <c:pt idx="51">
                  <c:v>92.197346800000005</c:v>
                </c:pt>
                <c:pt idx="52">
                  <c:v>101.389227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1A5E-407A-AC1D-1838C2884016}"/>
            </c:ext>
          </c:extLst>
        </c:ser>
        <c:ser>
          <c:idx val="1"/>
          <c:order val="1"/>
          <c:tx>
            <c:strRef>
              <c:f>List1!$A$3</c:f>
              <c:strCache>
                <c:ptCount val="1"/>
                <c:pt idx="0">
                  <c:v>2021</c:v>
                </c:pt>
              </c:strCache>
            </c:strRef>
          </c:tx>
          <c:spPr>
            <a:ln w="28575" cap="rnd">
              <a:solidFill>
                <a:srgbClr val="00B050"/>
              </a:solidFill>
              <a:round/>
            </a:ln>
            <a:effectLst/>
          </c:spPr>
          <c:marker>
            <c:symbol val="none"/>
          </c:marker>
          <c:cat>
            <c:strRef>
              <c:f>List1!$B$1:$BB$1</c:f>
              <c:strCache>
                <c:ptCount val="53"/>
                <c:pt idx="0">
                  <c:v>01.01 - 07.01</c:v>
                </c:pt>
                <c:pt idx="1">
                  <c:v>08.01 - 14.01</c:v>
                </c:pt>
                <c:pt idx="2">
                  <c:v>15.01 - 21.01</c:v>
                </c:pt>
                <c:pt idx="3">
                  <c:v>22.01 - 28.01</c:v>
                </c:pt>
                <c:pt idx="4">
                  <c:v>29.01 - 04.02</c:v>
                </c:pt>
                <c:pt idx="5">
                  <c:v>05.02 - 11.02</c:v>
                </c:pt>
                <c:pt idx="6">
                  <c:v>12.02 - 18.02</c:v>
                </c:pt>
                <c:pt idx="7">
                  <c:v>19.02 - 25.02</c:v>
                </c:pt>
                <c:pt idx="8">
                  <c:v>26.02 - 04.03</c:v>
                </c:pt>
                <c:pt idx="9">
                  <c:v>05.03 - 10.03</c:v>
                </c:pt>
                <c:pt idx="10">
                  <c:v>11.03 - 17.03</c:v>
                </c:pt>
                <c:pt idx="11">
                  <c:v>18.03 - 24.03</c:v>
                </c:pt>
                <c:pt idx="12">
                  <c:v>25.03 - 31.03</c:v>
                </c:pt>
                <c:pt idx="13">
                  <c:v>01.04 - 07.04</c:v>
                </c:pt>
                <c:pt idx="14">
                  <c:v>08.04 - 14.04</c:v>
                </c:pt>
                <c:pt idx="15">
                  <c:v>15.04 - 21.04</c:v>
                </c:pt>
                <c:pt idx="16">
                  <c:v>22.04 - 28.04</c:v>
                </c:pt>
                <c:pt idx="17">
                  <c:v>29.04 - 05.05</c:v>
                </c:pt>
                <c:pt idx="18">
                  <c:v>06.05 - 12.05</c:v>
                </c:pt>
                <c:pt idx="19">
                  <c:v>13.05 - 19.05</c:v>
                </c:pt>
                <c:pt idx="20">
                  <c:v>20.05 - 26.05</c:v>
                </c:pt>
                <c:pt idx="21">
                  <c:v>27.05 - 02.06</c:v>
                </c:pt>
                <c:pt idx="22">
                  <c:v>03.06 - 09.06</c:v>
                </c:pt>
                <c:pt idx="23">
                  <c:v>10.06 - 16.06</c:v>
                </c:pt>
                <c:pt idx="24">
                  <c:v>17.06 - 23.06</c:v>
                </c:pt>
                <c:pt idx="25">
                  <c:v>24.06 - 30.06</c:v>
                </c:pt>
                <c:pt idx="26">
                  <c:v>01.07 - 07.07</c:v>
                </c:pt>
                <c:pt idx="27">
                  <c:v>08.07 - 14.07</c:v>
                </c:pt>
                <c:pt idx="28">
                  <c:v>15.07 - 21.07</c:v>
                </c:pt>
                <c:pt idx="29">
                  <c:v>22.07 - 28.07</c:v>
                </c:pt>
                <c:pt idx="30">
                  <c:v>29.07 - 04.08</c:v>
                </c:pt>
                <c:pt idx="31">
                  <c:v>05.08 - 11.08</c:v>
                </c:pt>
                <c:pt idx="32">
                  <c:v>12.08 - 18.08</c:v>
                </c:pt>
                <c:pt idx="33">
                  <c:v>19.08 - 25.08</c:v>
                </c:pt>
                <c:pt idx="34">
                  <c:v>26.08 - 01.09</c:v>
                </c:pt>
                <c:pt idx="35">
                  <c:v>02.09 - 08.09</c:v>
                </c:pt>
                <c:pt idx="36">
                  <c:v>09.09 - 15.09</c:v>
                </c:pt>
                <c:pt idx="37">
                  <c:v>16.09 - 22.09</c:v>
                </c:pt>
                <c:pt idx="38">
                  <c:v>23.09 - 29.09</c:v>
                </c:pt>
                <c:pt idx="39">
                  <c:v>30.09 - 06.10</c:v>
                </c:pt>
                <c:pt idx="40">
                  <c:v>07.10 - 13.10</c:v>
                </c:pt>
                <c:pt idx="41">
                  <c:v>14.10 - 20.10</c:v>
                </c:pt>
                <c:pt idx="42">
                  <c:v>21.10 - 27.10</c:v>
                </c:pt>
                <c:pt idx="43">
                  <c:v>28.10 - 03.11</c:v>
                </c:pt>
                <c:pt idx="44">
                  <c:v>04.11 - 10.11</c:v>
                </c:pt>
                <c:pt idx="45">
                  <c:v>11.11 - 17.11</c:v>
                </c:pt>
                <c:pt idx="46">
                  <c:v>18.11 - 24.11</c:v>
                </c:pt>
                <c:pt idx="47">
                  <c:v>25.11 - 01.12</c:v>
                </c:pt>
                <c:pt idx="48">
                  <c:v>02.12 - 08.12</c:v>
                </c:pt>
                <c:pt idx="49">
                  <c:v>09.12 - 15.12</c:v>
                </c:pt>
                <c:pt idx="50">
                  <c:v>16.12 - 22.12</c:v>
                </c:pt>
                <c:pt idx="51">
                  <c:v>23.12 - 29.12</c:v>
                </c:pt>
                <c:pt idx="52">
                  <c:v>30.12 - 31.12</c:v>
                </c:pt>
              </c:strCache>
            </c:strRef>
          </c:cat>
          <c:val>
            <c:numRef>
              <c:f>List1!$B$3:$BB$3</c:f>
              <c:numCache>
                <c:formatCode>General</c:formatCode>
                <c:ptCount val="53"/>
                <c:pt idx="0">
                  <c:v>115.17704809999999</c:v>
                </c:pt>
                <c:pt idx="1">
                  <c:v>103.19974929999999</c:v>
                </c:pt>
                <c:pt idx="2">
                  <c:v>68.103478199999998</c:v>
                </c:pt>
                <c:pt idx="3">
                  <c:v>54.5941993</c:v>
                </c:pt>
                <c:pt idx="4">
                  <c:v>50.694613599999997</c:v>
                </c:pt>
                <c:pt idx="5">
                  <c:v>36.0711674</c:v>
                </c:pt>
                <c:pt idx="6">
                  <c:v>34.260645500000003</c:v>
                </c:pt>
                <c:pt idx="7">
                  <c:v>37.742418399999998</c:v>
                </c:pt>
                <c:pt idx="8">
                  <c:v>39.552940300000003</c:v>
                </c:pt>
                <c:pt idx="9">
                  <c:v>32.6590299</c:v>
                </c:pt>
                <c:pt idx="10">
                  <c:v>22.840430300000001</c:v>
                </c:pt>
                <c:pt idx="11">
                  <c:v>16.155426299999998</c:v>
                </c:pt>
                <c:pt idx="12">
                  <c:v>12.673653399999999</c:v>
                </c:pt>
                <c:pt idx="13">
                  <c:v>10.027506000000001</c:v>
                </c:pt>
                <c:pt idx="14">
                  <c:v>7.5206295000000001</c:v>
                </c:pt>
                <c:pt idx="15">
                  <c:v>5.9886493999999999</c:v>
                </c:pt>
                <c:pt idx="16">
                  <c:v>4.0388564999999996</c:v>
                </c:pt>
                <c:pt idx="17">
                  <c:v>2.3676054999999998</c:v>
                </c:pt>
                <c:pt idx="18">
                  <c:v>2.0890637000000001</c:v>
                </c:pt>
                <c:pt idx="19">
                  <c:v>2.0890637000000001</c:v>
                </c:pt>
                <c:pt idx="20">
                  <c:v>1.1141673000000001</c:v>
                </c:pt>
                <c:pt idx="21">
                  <c:v>0.27854180000000001</c:v>
                </c:pt>
                <c:pt idx="22">
                  <c:v>0.27854180000000001</c:v>
                </c:pt>
                <c:pt idx="23">
                  <c:v>0</c:v>
                </c:pt>
                <c:pt idx="24">
                  <c:v>0</c:v>
                </c:pt>
                <c:pt idx="25">
                  <c:v>0.41781269999999998</c:v>
                </c:pt>
                <c:pt idx="26">
                  <c:v>0.1392709</c:v>
                </c:pt>
                <c:pt idx="27">
                  <c:v>0.27854180000000001</c:v>
                </c:pt>
                <c:pt idx="28">
                  <c:v>0.1392709</c:v>
                </c:pt>
                <c:pt idx="29">
                  <c:v>0.41781269999999998</c:v>
                </c:pt>
                <c:pt idx="30">
                  <c:v>0</c:v>
                </c:pt>
                <c:pt idx="31">
                  <c:v>0.27854180000000001</c:v>
                </c:pt>
                <c:pt idx="32">
                  <c:v>0</c:v>
                </c:pt>
                <c:pt idx="33">
                  <c:v>0.1392709</c:v>
                </c:pt>
                <c:pt idx="34">
                  <c:v>1.1141673000000001</c:v>
                </c:pt>
                <c:pt idx="35">
                  <c:v>0.83562550000000002</c:v>
                </c:pt>
                <c:pt idx="36">
                  <c:v>0.55708360000000001</c:v>
                </c:pt>
                <c:pt idx="37">
                  <c:v>1.5319799999999999</c:v>
                </c:pt>
                <c:pt idx="38">
                  <c:v>2.2283346000000002</c:v>
                </c:pt>
                <c:pt idx="39">
                  <c:v>2.3676054999999998</c:v>
                </c:pt>
                <c:pt idx="40">
                  <c:v>1.3927091</c:v>
                </c:pt>
                <c:pt idx="41">
                  <c:v>6.1279203000000004</c:v>
                </c:pt>
                <c:pt idx="42">
                  <c:v>9.1918804999999999</c:v>
                </c:pt>
                <c:pt idx="43">
                  <c:v>15.041259</c:v>
                </c:pt>
                <c:pt idx="44">
                  <c:v>25.486577700000002</c:v>
                </c:pt>
                <c:pt idx="45">
                  <c:v>29.6647052</c:v>
                </c:pt>
                <c:pt idx="46">
                  <c:v>39.413669400000003</c:v>
                </c:pt>
                <c:pt idx="47">
                  <c:v>36.906792899999999</c:v>
                </c:pt>
                <c:pt idx="48">
                  <c:v>30.082518</c:v>
                </c:pt>
                <c:pt idx="49">
                  <c:v>23.258243</c:v>
                </c:pt>
                <c:pt idx="50">
                  <c:v>14.205633499999999</c:v>
                </c:pt>
                <c:pt idx="51">
                  <c:v>7.7991713000000003</c:v>
                </c:pt>
                <c:pt idx="52">
                  <c:v>7.799171300000000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1A5E-407A-AC1D-1838C2884016}"/>
            </c:ext>
          </c:extLst>
        </c:ser>
        <c:ser>
          <c:idx val="2"/>
          <c:order val="2"/>
          <c:tx>
            <c:strRef>
              <c:f>List1!$A$4</c:f>
              <c:strCache>
                <c:ptCount val="1"/>
                <c:pt idx="0">
                  <c:v>2022</c:v>
                </c:pt>
              </c:strCache>
            </c:strRef>
          </c:tx>
          <c:spPr>
            <a:ln w="28575" cap="flat">
              <a:solidFill>
                <a:srgbClr val="FFC000"/>
              </a:solidFill>
              <a:prstDash val="solid"/>
              <a:round/>
              <a:headEnd type="none"/>
            </a:ln>
            <a:effectLst/>
          </c:spPr>
          <c:marker>
            <c:symbol val="none"/>
          </c:marker>
          <c:cat>
            <c:strRef>
              <c:f>List1!$B$1:$BB$1</c:f>
              <c:strCache>
                <c:ptCount val="53"/>
                <c:pt idx="0">
                  <c:v>01.01 - 07.01</c:v>
                </c:pt>
                <c:pt idx="1">
                  <c:v>08.01 - 14.01</c:v>
                </c:pt>
                <c:pt idx="2">
                  <c:v>15.01 - 21.01</c:v>
                </c:pt>
                <c:pt idx="3">
                  <c:v>22.01 - 28.01</c:v>
                </c:pt>
                <c:pt idx="4">
                  <c:v>29.01 - 04.02</c:v>
                </c:pt>
                <c:pt idx="5">
                  <c:v>05.02 - 11.02</c:v>
                </c:pt>
                <c:pt idx="6">
                  <c:v>12.02 - 18.02</c:v>
                </c:pt>
                <c:pt idx="7">
                  <c:v>19.02 - 25.02</c:v>
                </c:pt>
                <c:pt idx="8">
                  <c:v>26.02 - 04.03</c:v>
                </c:pt>
                <c:pt idx="9">
                  <c:v>05.03 - 10.03</c:v>
                </c:pt>
                <c:pt idx="10">
                  <c:v>11.03 - 17.03</c:v>
                </c:pt>
                <c:pt idx="11">
                  <c:v>18.03 - 24.03</c:v>
                </c:pt>
                <c:pt idx="12">
                  <c:v>25.03 - 31.03</c:v>
                </c:pt>
                <c:pt idx="13">
                  <c:v>01.04 - 07.04</c:v>
                </c:pt>
                <c:pt idx="14">
                  <c:v>08.04 - 14.04</c:v>
                </c:pt>
                <c:pt idx="15">
                  <c:v>15.04 - 21.04</c:v>
                </c:pt>
                <c:pt idx="16">
                  <c:v>22.04 - 28.04</c:v>
                </c:pt>
                <c:pt idx="17">
                  <c:v>29.04 - 05.05</c:v>
                </c:pt>
                <c:pt idx="18">
                  <c:v>06.05 - 12.05</c:v>
                </c:pt>
                <c:pt idx="19">
                  <c:v>13.05 - 19.05</c:v>
                </c:pt>
                <c:pt idx="20">
                  <c:v>20.05 - 26.05</c:v>
                </c:pt>
                <c:pt idx="21">
                  <c:v>27.05 - 02.06</c:v>
                </c:pt>
                <c:pt idx="22">
                  <c:v>03.06 - 09.06</c:v>
                </c:pt>
                <c:pt idx="23">
                  <c:v>10.06 - 16.06</c:v>
                </c:pt>
                <c:pt idx="24">
                  <c:v>17.06 - 23.06</c:v>
                </c:pt>
                <c:pt idx="25">
                  <c:v>24.06 - 30.06</c:v>
                </c:pt>
                <c:pt idx="26">
                  <c:v>01.07 - 07.07</c:v>
                </c:pt>
                <c:pt idx="27">
                  <c:v>08.07 - 14.07</c:v>
                </c:pt>
                <c:pt idx="28">
                  <c:v>15.07 - 21.07</c:v>
                </c:pt>
                <c:pt idx="29">
                  <c:v>22.07 - 28.07</c:v>
                </c:pt>
                <c:pt idx="30">
                  <c:v>29.07 - 04.08</c:v>
                </c:pt>
                <c:pt idx="31">
                  <c:v>05.08 - 11.08</c:v>
                </c:pt>
                <c:pt idx="32">
                  <c:v>12.08 - 18.08</c:v>
                </c:pt>
                <c:pt idx="33">
                  <c:v>19.08 - 25.08</c:v>
                </c:pt>
                <c:pt idx="34">
                  <c:v>26.08 - 01.09</c:v>
                </c:pt>
                <c:pt idx="35">
                  <c:v>02.09 - 08.09</c:v>
                </c:pt>
                <c:pt idx="36">
                  <c:v>09.09 - 15.09</c:v>
                </c:pt>
                <c:pt idx="37">
                  <c:v>16.09 - 22.09</c:v>
                </c:pt>
                <c:pt idx="38">
                  <c:v>23.09 - 29.09</c:v>
                </c:pt>
                <c:pt idx="39">
                  <c:v>30.09 - 06.10</c:v>
                </c:pt>
                <c:pt idx="40">
                  <c:v>07.10 - 13.10</c:v>
                </c:pt>
                <c:pt idx="41">
                  <c:v>14.10 - 20.10</c:v>
                </c:pt>
                <c:pt idx="42">
                  <c:v>21.10 - 27.10</c:v>
                </c:pt>
                <c:pt idx="43">
                  <c:v>28.10 - 03.11</c:v>
                </c:pt>
                <c:pt idx="44">
                  <c:v>04.11 - 10.11</c:v>
                </c:pt>
                <c:pt idx="45">
                  <c:v>11.11 - 17.11</c:v>
                </c:pt>
                <c:pt idx="46">
                  <c:v>18.11 - 24.11</c:v>
                </c:pt>
                <c:pt idx="47">
                  <c:v>25.11 - 01.12</c:v>
                </c:pt>
                <c:pt idx="48">
                  <c:v>02.12 - 08.12</c:v>
                </c:pt>
                <c:pt idx="49">
                  <c:v>09.12 - 15.12</c:v>
                </c:pt>
                <c:pt idx="50">
                  <c:v>16.12 - 22.12</c:v>
                </c:pt>
                <c:pt idx="51">
                  <c:v>23.12 - 29.12</c:v>
                </c:pt>
                <c:pt idx="52">
                  <c:v>30.12 - 31.12</c:v>
                </c:pt>
              </c:strCache>
            </c:strRef>
          </c:cat>
          <c:val>
            <c:numRef>
              <c:f>List1!$B$4:$BB$4</c:f>
              <c:numCache>
                <c:formatCode>General</c:formatCode>
                <c:ptCount val="53"/>
                <c:pt idx="0">
                  <c:v>8.9133385999999994</c:v>
                </c:pt>
                <c:pt idx="1">
                  <c:v>9.8882349999999999</c:v>
                </c:pt>
                <c:pt idx="2">
                  <c:v>35.792625600000001</c:v>
                </c:pt>
                <c:pt idx="3">
                  <c:v>65.178788999999995</c:v>
                </c:pt>
                <c:pt idx="4">
                  <c:v>74.231398600000006</c:v>
                </c:pt>
                <c:pt idx="5">
                  <c:v>65.039518099999995</c:v>
                </c:pt>
                <c:pt idx="6">
                  <c:v>49.162633599999999</c:v>
                </c:pt>
                <c:pt idx="7">
                  <c:v>34.539187300000002</c:v>
                </c:pt>
                <c:pt idx="8">
                  <c:v>22.42261750000000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1A5E-407A-AC1D-1838C288401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88445264"/>
        <c:axId val="494149648"/>
      </c:line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tickLblSkip val="1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  <c:majorUnit val="50"/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87596356464825076"/>
          <c:y val="0.27782564669163051"/>
          <c:w val="7.847404993676986E-2"/>
          <c:h val="0.16275051734771301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35105486733009034"/>
          <c:y val="6.7225186576531884E-2"/>
          <c:w val="0.60212445764572553"/>
          <c:h val="0.9054811758888358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%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numFmt formatCode="#,##0.0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6</c:f>
              <c:strCache>
                <c:ptCount val="15"/>
                <c:pt idx="0">
                  <c:v>Plzeňský kraj</c:v>
                </c:pt>
                <c:pt idx="1">
                  <c:v>Liberecký kraj</c:v>
                </c:pt>
                <c:pt idx="2">
                  <c:v>Královéhradecký kraj</c:v>
                </c:pt>
                <c:pt idx="3">
                  <c:v>Kraj Vysočina</c:v>
                </c:pt>
                <c:pt idx="4">
                  <c:v>Středočeský kraj</c:v>
                </c:pt>
                <c:pt idx="5">
                  <c:v>Jihočeský kraj</c:v>
                </c:pt>
                <c:pt idx="6">
                  <c:v>Pardubický kraj</c:v>
                </c:pt>
                <c:pt idx="7">
                  <c:v>Ústecký kraj</c:v>
                </c:pt>
                <c:pt idx="8">
                  <c:v>Hlavní město Praha</c:v>
                </c:pt>
                <c:pt idx="9">
                  <c:v>ČR</c:v>
                </c:pt>
                <c:pt idx="10">
                  <c:v>Olomoucký kraj</c:v>
                </c:pt>
                <c:pt idx="11">
                  <c:v>Zlínský kraj</c:v>
                </c:pt>
                <c:pt idx="12">
                  <c:v>Jihomoravský kraj</c:v>
                </c:pt>
                <c:pt idx="13">
                  <c:v>Moravskoslezský kraj</c:v>
                </c:pt>
                <c:pt idx="14">
                  <c:v>Karlovarský kraj</c:v>
                </c:pt>
              </c:strCache>
            </c:strRef>
          </c:cat>
          <c:val>
            <c:numRef>
              <c:f>Sheet1!$B$2:$B$16</c:f>
              <c:numCache>
                <c:formatCode>General</c:formatCode>
                <c:ptCount val="15"/>
                <c:pt idx="0">
                  <c:v>93.598709999999997</c:v>
                </c:pt>
                <c:pt idx="1">
                  <c:v>90.461299999999994</c:v>
                </c:pt>
                <c:pt idx="2">
                  <c:v>90.166409999999999</c:v>
                </c:pt>
                <c:pt idx="3">
                  <c:v>90.120660000000001</c:v>
                </c:pt>
                <c:pt idx="4">
                  <c:v>90.026480000000006</c:v>
                </c:pt>
                <c:pt idx="5">
                  <c:v>89.646829999999994</c:v>
                </c:pt>
                <c:pt idx="6">
                  <c:v>89.193190000000001</c:v>
                </c:pt>
                <c:pt idx="7">
                  <c:v>89.134619999999998</c:v>
                </c:pt>
                <c:pt idx="8">
                  <c:v>88.966899999999995</c:v>
                </c:pt>
                <c:pt idx="9">
                  <c:v>88.007959999999997</c:v>
                </c:pt>
                <c:pt idx="10">
                  <c:v>87.272729999999996</c:v>
                </c:pt>
                <c:pt idx="11">
                  <c:v>85.214010000000002</c:v>
                </c:pt>
                <c:pt idx="12">
                  <c:v>84.988709999999998</c:v>
                </c:pt>
                <c:pt idx="13">
                  <c:v>84.437669999999997</c:v>
                </c:pt>
                <c:pt idx="14">
                  <c:v>84.19580000000000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A38-498E-AF17-8F5778D6258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383764288"/>
        <c:axId val="50879584"/>
      </c:barChart>
      <c:catAx>
        <c:axId val="383764288"/>
        <c:scaling>
          <c:orientation val="maxMin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50879584"/>
        <c:crosses val="autoZero"/>
        <c:auto val="1"/>
        <c:lblAlgn val="ctr"/>
        <c:lblOffset val="100"/>
        <c:noMultiLvlLbl val="0"/>
      </c:catAx>
      <c:valAx>
        <c:axId val="50879584"/>
        <c:scaling>
          <c:orientation val="minMax"/>
          <c:min val="0"/>
        </c:scaling>
        <c:delete val="0"/>
        <c:axPos val="t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8376428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35105486733009034"/>
          <c:y val="6.7225186576531884E-2"/>
          <c:w val="0.60212445764572553"/>
          <c:h val="0.9054811758888358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%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numFmt formatCode="#,##0.0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6</c:f>
              <c:strCache>
                <c:ptCount val="15"/>
                <c:pt idx="0">
                  <c:v>Ústecký kraj</c:v>
                </c:pt>
                <c:pt idx="1">
                  <c:v>Plzeňský kraj</c:v>
                </c:pt>
                <c:pt idx="2">
                  <c:v>Středočeský kraj</c:v>
                </c:pt>
                <c:pt idx="3">
                  <c:v>Kraj Vysočina</c:v>
                </c:pt>
                <c:pt idx="4">
                  <c:v>Královéhradecký kraj</c:v>
                </c:pt>
                <c:pt idx="5">
                  <c:v>Hlavní město Praha</c:v>
                </c:pt>
                <c:pt idx="6">
                  <c:v>Karlovarský kraj</c:v>
                </c:pt>
                <c:pt idx="7">
                  <c:v>Jihočeský kraj</c:v>
                </c:pt>
                <c:pt idx="8">
                  <c:v>Liberecký kraj</c:v>
                </c:pt>
                <c:pt idx="9">
                  <c:v>ČR</c:v>
                </c:pt>
                <c:pt idx="10">
                  <c:v>Jihomoravský kraj</c:v>
                </c:pt>
                <c:pt idx="11">
                  <c:v>Pardubický kraj</c:v>
                </c:pt>
                <c:pt idx="12">
                  <c:v>Moravskoslezský kraj</c:v>
                </c:pt>
                <c:pt idx="13">
                  <c:v>Zlínský kraj</c:v>
                </c:pt>
                <c:pt idx="14">
                  <c:v>Olomoucký kraj</c:v>
                </c:pt>
              </c:strCache>
            </c:strRef>
          </c:cat>
          <c:val>
            <c:numRef>
              <c:f>Sheet1!$B$2:$B$16</c:f>
              <c:numCache>
                <c:formatCode>General</c:formatCode>
                <c:ptCount val="15"/>
                <c:pt idx="0">
                  <c:v>88.582939999999994</c:v>
                </c:pt>
                <c:pt idx="1">
                  <c:v>88.31241</c:v>
                </c:pt>
                <c:pt idx="2">
                  <c:v>87.872900000000001</c:v>
                </c:pt>
                <c:pt idx="3">
                  <c:v>87.532049999999998</c:v>
                </c:pt>
                <c:pt idx="4">
                  <c:v>86.500249999999994</c:v>
                </c:pt>
                <c:pt idx="5">
                  <c:v>86.261060000000001</c:v>
                </c:pt>
                <c:pt idx="6">
                  <c:v>85.32047</c:v>
                </c:pt>
                <c:pt idx="7">
                  <c:v>84.691490000000002</c:v>
                </c:pt>
                <c:pt idx="8">
                  <c:v>84.544809999999998</c:v>
                </c:pt>
                <c:pt idx="9">
                  <c:v>84.246229999999997</c:v>
                </c:pt>
                <c:pt idx="10">
                  <c:v>83.380889999999994</c:v>
                </c:pt>
                <c:pt idx="11">
                  <c:v>81.497479999999996</c:v>
                </c:pt>
                <c:pt idx="12">
                  <c:v>79.317269999999994</c:v>
                </c:pt>
                <c:pt idx="13">
                  <c:v>79.307329999999993</c:v>
                </c:pt>
                <c:pt idx="14">
                  <c:v>77.9954400000000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F40-47DE-ACA1-8E4053576F1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383764288"/>
        <c:axId val="50879584"/>
      </c:barChart>
      <c:catAx>
        <c:axId val="383764288"/>
        <c:scaling>
          <c:orientation val="maxMin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50879584"/>
        <c:crosses val="autoZero"/>
        <c:auto val="1"/>
        <c:lblAlgn val="ctr"/>
        <c:lblOffset val="100"/>
        <c:noMultiLvlLbl val="0"/>
      </c:catAx>
      <c:valAx>
        <c:axId val="50879584"/>
        <c:scaling>
          <c:orientation val="minMax"/>
          <c:max val="100"/>
        </c:scaling>
        <c:delete val="0"/>
        <c:axPos val="t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8376428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51120061166082842"/>
          <c:y val="6.3054247171625041E-2"/>
          <c:w val="0.45963458745004687"/>
          <c:h val="0.91717732257132245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ostatní ZP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37</c:f>
              <c:strCache>
                <c:ptCount val="36"/>
                <c:pt idx="0">
                  <c:v>§ 42 Sanitář</c:v>
                </c:pt>
                <c:pt idx="1">
                  <c:v>§ 24 Fyzioterapeut</c:v>
                </c:pt>
                <c:pt idx="2">
                  <c:v>farmaceut</c:v>
                </c:pt>
                <c:pt idx="3">
                  <c:v>§ 9 Zdravotní laborant</c:v>
                </c:pt>
                <c:pt idx="4">
                  <c:v>§ 19 Farmaceutický asistent</c:v>
                </c:pt>
                <c:pt idx="5">
                  <c:v>§ 36 Ošetřovatel</c:v>
                </c:pt>
                <c:pt idx="6">
                  <c:v>§ 18 Zdravotnický záchranář</c:v>
                </c:pt>
                <c:pt idx="7">
                  <c:v>§ 39 Zubní instrumentářka</c:v>
                </c:pt>
                <c:pt idx="8">
                  <c:v>§ 26 Odborný pracovník v laboratorních metodách a v přípravě léčivých přípravků</c:v>
                </c:pt>
                <c:pt idx="9">
                  <c:v>§ 8 Radiologický asistent</c:v>
                </c:pt>
                <c:pt idx="10">
                  <c:v>§ 16 Zubní technik</c:v>
                </c:pt>
                <c:pt idx="11">
                  <c:v>§ 40 Řidič zdravotnické dopravní služby</c:v>
                </c:pt>
                <c:pt idx="12">
                  <c:v>§ 35 Řidič vozidla zdravotnické záchranné služby</c:v>
                </c:pt>
                <c:pt idx="13">
                  <c:v>§ 22 Psycholog ve zdravotnictví</c:v>
                </c:pt>
                <c:pt idx="14">
                  <c:v>§ 17 Dentální hygienistka</c:v>
                </c:pt>
                <c:pt idx="15">
                  <c:v>§ 37 Masér ve zdravotnictví, nevidomý a slabozraký masér ve zdravotnictví</c:v>
                </c:pt>
                <c:pt idx="16">
                  <c:v>§ 15 Nutriční terapeut</c:v>
                </c:pt>
                <c:pt idx="17">
                  <c:v>§ 7 Ergoterapeut</c:v>
                </c:pt>
                <c:pt idx="18">
                  <c:v>§ 11 Optometrista</c:v>
                </c:pt>
                <c:pt idx="19">
                  <c:v>§ 23 Logoped ve zdravotnictví</c:v>
                </c:pt>
                <c:pt idx="20">
                  <c:v>§ 30 Laboratorní asistent</c:v>
                </c:pt>
                <c:pt idx="21">
                  <c:v>§ 10 Zdravotně-sociální pracovník</c:v>
                </c:pt>
                <c:pt idx="22">
                  <c:v>§ 27 Biomedicínský inženýr</c:v>
                </c:pt>
                <c:pt idx="23">
                  <c:v>§ 33 Asistent zubního technika</c:v>
                </c:pt>
                <c:pt idx="24">
                  <c:v>§ 28 Odborný pracovník v ochraně a podpoře veřejného zdraví</c:v>
                </c:pt>
                <c:pt idx="25">
                  <c:v>§ 21a Adiktolog</c:v>
                </c:pt>
                <c:pt idx="26">
                  <c:v>§ 13 Asistent ochrany a podpory veřejného zdraví</c:v>
                </c:pt>
                <c:pt idx="27">
                  <c:v>§ 25 Radiologický fyzik</c:v>
                </c:pt>
                <c:pt idx="28">
                  <c:v>§ 14 Ortotik-protetik</c:v>
                </c:pt>
                <c:pt idx="29">
                  <c:v>§ 20 Biomedicínský technik</c:v>
                </c:pt>
                <c:pt idx="30">
                  <c:v>§ 12 Ortoptista</c:v>
                </c:pt>
                <c:pt idx="31">
                  <c:v>§ 31 Ortoticko-protetický technik</c:v>
                </c:pt>
                <c:pt idx="32">
                  <c:v>§ 32 Nutriční asistent</c:v>
                </c:pt>
                <c:pt idx="33">
                  <c:v>§ 21 Radiologický technik</c:v>
                </c:pt>
                <c:pt idx="34">
                  <c:v>§ 41 Autoptický laborant</c:v>
                </c:pt>
                <c:pt idx="35">
                  <c:v>§ 23a Zrakový terapeut</c:v>
                </c:pt>
              </c:strCache>
            </c:strRef>
          </c:cat>
          <c:val>
            <c:numRef>
              <c:f>List1!$B$2:$B$37</c:f>
              <c:numCache>
                <c:formatCode>General</c:formatCode>
                <c:ptCount val="36"/>
                <c:pt idx="0">
                  <c:v>6002</c:v>
                </c:pt>
                <c:pt idx="1">
                  <c:v>2890</c:v>
                </c:pt>
                <c:pt idx="2">
                  <c:v>2333</c:v>
                </c:pt>
                <c:pt idx="3">
                  <c:v>2146</c:v>
                </c:pt>
                <c:pt idx="4">
                  <c:v>1903</c:v>
                </c:pt>
                <c:pt idx="5">
                  <c:v>1313</c:v>
                </c:pt>
                <c:pt idx="6">
                  <c:v>1146</c:v>
                </c:pt>
                <c:pt idx="7">
                  <c:v>1045</c:v>
                </c:pt>
                <c:pt idx="8">
                  <c:v>885</c:v>
                </c:pt>
                <c:pt idx="9">
                  <c:v>872</c:v>
                </c:pt>
                <c:pt idx="10">
                  <c:v>717</c:v>
                </c:pt>
                <c:pt idx="11">
                  <c:v>556</c:v>
                </c:pt>
                <c:pt idx="12">
                  <c:v>445</c:v>
                </c:pt>
                <c:pt idx="13">
                  <c:v>443</c:v>
                </c:pt>
                <c:pt idx="14">
                  <c:v>413</c:v>
                </c:pt>
                <c:pt idx="15">
                  <c:v>313</c:v>
                </c:pt>
                <c:pt idx="16">
                  <c:v>259</c:v>
                </c:pt>
                <c:pt idx="17">
                  <c:v>257</c:v>
                </c:pt>
                <c:pt idx="18">
                  <c:v>255</c:v>
                </c:pt>
                <c:pt idx="19">
                  <c:v>236</c:v>
                </c:pt>
                <c:pt idx="20">
                  <c:v>226</c:v>
                </c:pt>
                <c:pt idx="21">
                  <c:v>225</c:v>
                </c:pt>
                <c:pt idx="22">
                  <c:v>112</c:v>
                </c:pt>
                <c:pt idx="23">
                  <c:v>73</c:v>
                </c:pt>
                <c:pt idx="24">
                  <c:v>62</c:v>
                </c:pt>
                <c:pt idx="25">
                  <c:v>59</c:v>
                </c:pt>
                <c:pt idx="26">
                  <c:v>45</c:v>
                </c:pt>
                <c:pt idx="27">
                  <c:v>40</c:v>
                </c:pt>
                <c:pt idx="28">
                  <c:v>34</c:v>
                </c:pt>
                <c:pt idx="29">
                  <c:v>27</c:v>
                </c:pt>
                <c:pt idx="30">
                  <c:v>19</c:v>
                </c:pt>
                <c:pt idx="31">
                  <c:v>13</c:v>
                </c:pt>
                <c:pt idx="32">
                  <c:v>12</c:v>
                </c:pt>
                <c:pt idx="33">
                  <c:v>6</c:v>
                </c:pt>
                <c:pt idx="34">
                  <c:v>5</c:v>
                </c:pt>
                <c:pt idx="35">
                  <c:v>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EDC-4FEF-9A9E-83836E26FF1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0"/>
        <c:overlap val="100"/>
        <c:axId val="320460415"/>
        <c:axId val="315793487"/>
      </c:barChart>
      <c:catAx>
        <c:axId val="320460415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15793487"/>
        <c:crosses val="autoZero"/>
        <c:auto val="1"/>
        <c:lblAlgn val="ctr"/>
        <c:lblOffset val="100"/>
        <c:tickLblSkip val="1"/>
        <c:noMultiLvlLbl val="0"/>
      </c:catAx>
      <c:valAx>
        <c:axId val="315793487"/>
        <c:scaling>
          <c:orientation val="minMax"/>
        </c:scaling>
        <c:delete val="0"/>
        <c:axPos val="t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20460415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51120061166082842"/>
          <c:y val="6.3054247171625041E-2"/>
          <c:w val="0.45963458745004687"/>
          <c:h val="0.91717732257132245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ostatní ZP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37</c:f>
              <c:strCache>
                <c:ptCount val="36"/>
                <c:pt idx="0">
                  <c:v>§ 42 Sanitář</c:v>
                </c:pt>
                <c:pt idx="1">
                  <c:v>§ 24 Fyzioterapeut</c:v>
                </c:pt>
                <c:pt idx="2">
                  <c:v>farmaceut</c:v>
                </c:pt>
                <c:pt idx="3">
                  <c:v>§ 9 Zdravotní laborant</c:v>
                </c:pt>
                <c:pt idx="4">
                  <c:v>§ 19 Farmaceutický asistent</c:v>
                </c:pt>
                <c:pt idx="5">
                  <c:v>§ 36 Ošetřovatel</c:v>
                </c:pt>
                <c:pt idx="6">
                  <c:v>§ 18 Zdravotnický záchranář</c:v>
                </c:pt>
                <c:pt idx="7">
                  <c:v>§ 39 Zubní instrumentářka</c:v>
                </c:pt>
                <c:pt idx="8">
                  <c:v>§ 26 Odborný pracovník v laboratorních metodách a v přípravě léčivých přípravků</c:v>
                </c:pt>
                <c:pt idx="9">
                  <c:v>§ 8 Radiologický asistent</c:v>
                </c:pt>
                <c:pt idx="10">
                  <c:v>§ 16 Zubní technik</c:v>
                </c:pt>
                <c:pt idx="11">
                  <c:v>§ 40 Řidič zdravotnické dopravní služby</c:v>
                </c:pt>
                <c:pt idx="12">
                  <c:v>§ 22 Psycholog ve zdravotnictví</c:v>
                </c:pt>
                <c:pt idx="13">
                  <c:v>§ 17 Dentální hygienistka</c:v>
                </c:pt>
                <c:pt idx="14">
                  <c:v>§ 35 Řidič vozidla zdravotnické záchranné služby</c:v>
                </c:pt>
                <c:pt idx="15">
                  <c:v>§ 37 Masér ve zdravotnictví, nevidomý a slabozraký masér ve zdravotnictví</c:v>
                </c:pt>
                <c:pt idx="16">
                  <c:v>§ 7 Ergoterapeut</c:v>
                </c:pt>
                <c:pt idx="17">
                  <c:v>§ 23 Logoped ve zdravotnictví</c:v>
                </c:pt>
                <c:pt idx="18">
                  <c:v>§ 15 Nutriční terapeut</c:v>
                </c:pt>
                <c:pt idx="19">
                  <c:v>§ 11 Optometrista</c:v>
                </c:pt>
                <c:pt idx="20">
                  <c:v>§ 30 Laboratorní asistent</c:v>
                </c:pt>
                <c:pt idx="21">
                  <c:v>§ 10 Zdravotně-sociální pracovník</c:v>
                </c:pt>
                <c:pt idx="22">
                  <c:v>§ 27 Biomedicínský inženýr</c:v>
                </c:pt>
                <c:pt idx="23">
                  <c:v>§ 33 Asistent zubního technika</c:v>
                </c:pt>
                <c:pt idx="24">
                  <c:v>§ 28 Odborný pracovník v ochraně a podpoře veřejného zdraví</c:v>
                </c:pt>
                <c:pt idx="25">
                  <c:v>§ 21a Adiktolog</c:v>
                </c:pt>
                <c:pt idx="26">
                  <c:v>§ 25 Radiologický fyzik</c:v>
                </c:pt>
                <c:pt idx="27">
                  <c:v>§ 13 Asistent ochrany a podpory veřejného zdraví</c:v>
                </c:pt>
                <c:pt idx="28">
                  <c:v>§ 14 Ortotik-protetik</c:v>
                </c:pt>
                <c:pt idx="29">
                  <c:v>§ 20 Biomedicínský technik</c:v>
                </c:pt>
                <c:pt idx="30">
                  <c:v>§ 12 Ortoptista</c:v>
                </c:pt>
                <c:pt idx="31">
                  <c:v>§ 31 Ortoticko-protetický technik</c:v>
                </c:pt>
                <c:pt idx="32">
                  <c:v>§ 32 Nutriční asistent</c:v>
                </c:pt>
                <c:pt idx="33">
                  <c:v>§ 21 Radiologický technik</c:v>
                </c:pt>
                <c:pt idx="34">
                  <c:v>§ 41 Autoptický laborant</c:v>
                </c:pt>
                <c:pt idx="35">
                  <c:v>§ 23a Zrakový terapeut</c:v>
                </c:pt>
              </c:strCache>
            </c:strRef>
          </c:cat>
          <c:val>
            <c:numRef>
              <c:f>List1!$B$2:$B$37</c:f>
              <c:numCache>
                <c:formatCode>General</c:formatCode>
                <c:ptCount val="36"/>
                <c:pt idx="0">
                  <c:v>3568</c:v>
                </c:pt>
                <c:pt idx="1">
                  <c:v>1957</c:v>
                </c:pt>
                <c:pt idx="2">
                  <c:v>1538</c:v>
                </c:pt>
                <c:pt idx="3">
                  <c:v>1500</c:v>
                </c:pt>
                <c:pt idx="4">
                  <c:v>1237</c:v>
                </c:pt>
                <c:pt idx="5">
                  <c:v>769</c:v>
                </c:pt>
                <c:pt idx="6">
                  <c:v>766</c:v>
                </c:pt>
                <c:pt idx="7">
                  <c:v>695</c:v>
                </c:pt>
                <c:pt idx="8">
                  <c:v>653</c:v>
                </c:pt>
                <c:pt idx="9">
                  <c:v>581</c:v>
                </c:pt>
                <c:pt idx="10">
                  <c:v>455</c:v>
                </c:pt>
                <c:pt idx="11">
                  <c:v>341</c:v>
                </c:pt>
                <c:pt idx="12">
                  <c:v>335</c:v>
                </c:pt>
                <c:pt idx="13">
                  <c:v>283</c:v>
                </c:pt>
                <c:pt idx="14">
                  <c:v>266</c:v>
                </c:pt>
                <c:pt idx="15">
                  <c:v>192</c:v>
                </c:pt>
                <c:pt idx="16">
                  <c:v>183</c:v>
                </c:pt>
                <c:pt idx="17">
                  <c:v>178</c:v>
                </c:pt>
                <c:pt idx="18">
                  <c:v>173</c:v>
                </c:pt>
                <c:pt idx="19">
                  <c:v>161</c:v>
                </c:pt>
                <c:pt idx="20">
                  <c:v>159</c:v>
                </c:pt>
                <c:pt idx="21">
                  <c:v>145</c:v>
                </c:pt>
                <c:pt idx="22">
                  <c:v>77</c:v>
                </c:pt>
                <c:pt idx="23">
                  <c:v>48</c:v>
                </c:pt>
                <c:pt idx="24">
                  <c:v>43</c:v>
                </c:pt>
                <c:pt idx="25">
                  <c:v>40</c:v>
                </c:pt>
                <c:pt idx="26">
                  <c:v>35</c:v>
                </c:pt>
                <c:pt idx="27">
                  <c:v>33</c:v>
                </c:pt>
                <c:pt idx="28">
                  <c:v>22</c:v>
                </c:pt>
                <c:pt idx="29">
                  <c:v>19</c:v>
                </c:pt>
                <c:pt idx="30">
                  <c:v>13</c:v>
                </c:pt>
                <c:pt idx="31">
                  <c:v>6</c:v>
                </c:pt>
                <c:pt idx="32">
                  <c:v>6</c:v>
                </c:pt>
                <c:pt idx="33">
                  <c:v>5</c:v>
                </c:pt>
                <c:pt idx="34">
                  <c:v>4</c:v>
                </c:pt>
                <c:pt idx="35">
                  <c:v>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EDC-4FEF-9A9E-83836E26FF1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0"/>
        <c:overlap val="100"/>
        <c:axId val="320460415"/>
        <c:axId val="315793487"/>
      </c:barChart>
      <c:catAx>
        <c:axId val="320460415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15793487"/>
        <c:crosses val="autoZero"/>
        <c:auto val="1"/>
        <c:lblAlgn val="ctr"/>
        <c:lblOffset val="100"/>
        <c:tickLblSkip val="1"/>
        <c:noMultiLvlLbl val="0"/>
      </c:catAx>
      <c:valAx>
        <c:axId val="315793487"/>
        <c:scaling>
          <c:orientation val="minMax"/>
        </c:scaling>
        <c:delete val="0"/>
        <c:axPos val="t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20460415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51120061166082842"/>
          <c:y val="6.3054247171625041E-2"/>
          <c:w val="0.45963458745004687"/>
          <c:h val="0.91717732257132245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ostatní ZP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37</c:f>
              <c:strCache>
                <c:ptCount val="36"/>
                <c:pt idx="0">
                  <c:v>§ 42 Sanitář</c:v>
                </c:pt>
                <c:pt idx="1">
                  <c:v>§ 24 Fyzioterapeut</c:v>
                </c:pt>
                <c:pt idx="2">
                  <c:v>§ 9 Zdravotní laborant</c:v>
                </c:pt>
                <c:pt idx="3">
                  <c:v>farmaceut</c:v>
                </c:pt>
                <c:pt idx="4">
                  <c:v>§ 19 Farmaceutický asistent</c:v>
                </c:pt>
                <c:pt idx="5">
                  <c:v>§ 18 Zdravotnický záchranář</c:v>
                </c:pt>
                <c:pt idx="6">
                  <c:v>§ 36 Ošetřovatel</c:v>
                </c:pt>
                <c:pt idx="7">
                  <c:v>§ 26 Odborný pracovník v laboratorních metodách a v přípravě léčivých přípravků</c:v>
                </c:pt>
                <c:pt idx="8">
                  <c:v>§ 39 Zubní instrumentářka</c:v>
                </c:pt>
                <c:pt idx="9">
                  <c:v>§ 8 Radiologický asistent</c:v>
                </c:pt>
                <c:pt idx="10">
                  <c:v>§ 16 Zubní technik</c:v>
                </c:pt>
                <c:pt idx="11">
                  <c:v>§ 22 Psycholog ve zdravotnictví</c:v>
                </c:pt>
                <c:pt idx="12">
                  <c:v>§ 40 Řidič zdravotnické dopravní služby</c:v>
                </c:pt>
                <c:pt idx="13">
                  <c:v>§ 17 Dentální hygienistka</c:v>
                </c:pt>
                <c:pt idx="14">
                  <c:v>§ 35 Řidič vozidla zdravotnické záchranné služby</c:v>
                </c:pt>
                <c:pt idx="15">
                  <c:v>§ 7 Ergoterapeut</c:v>
                </c:pt>
                <c:pt idx="16">
                  <c:v>§ 30 Laboratorní asistent</c:v>
                </c:pt>
                <c:pt idx="17">
                  <c:v>§ 37 Masér ve zdravotnictví, nevidomý a slabozraký masér ve zdravotnictví</c:v>
                </c:pt>
                <c:pt idx="18">
                  <c:v>§ 23 Logoped ve zdravotnictví</c:v>
                </c:pt>
                <c:pt idx="19">
                  <c:v>§ 15 Nutriční terapeut</c:v>
                </c:pt>
                <c:pt idx="20">
                  <c:v>§ 11 Optometrista</c:v>
                </c:pt>
                <c:pt idx="21">
                  <c:v>§ 10 Zdravotně-sociální pracovník</c:v>
                </c:pt>
                <c:pt idx="22">
                  <c:v>§ 27 Biomedicínský inženýr</c:v>
                </c:pt>
                <c:pt idx="23">
                  <c:v>§ 28 Odborný pracovník v ochraně a podpoře veřejného zdraví</c:v>
                </c:pt>
                <c:pt idx="24">
                  <c:v>§ 33 Asistent zubního technika</c:v>
                </c:pt>
                <c:pt idx="25">
                  <c:v>§ 13 Asistent ochrany a podpory veřejného zdraví</c:v>
                </c:pt>
                <c:pt idx="26">
                  <c:v>§ 21a Adiktolog</c:v>
                </c:pt>
                <c:pt idx="27">
                  <c:v>§ 25 Radiologický fyzik</c:v>
                </c:pt>
                <c:pt idx="28">
                  <c:v>§ 14 Ortotik-protetik</c:v>
                </c:pt>
                <c:pt idx="29">
                  <c:v>§ 20 Biomedicínský technik</c:v>
                </c:pt>
                <c:pt idx="30">
                  <c:v>§ 12 Ortoptista</c:v>
                </c:pt>
                <c:pt idx="31">
                  <c:v>§ 31 Ortoticko-protetický technik</c:v>
                </c:pt>
                <c:pt idx="32">
                  <c:v>§ 21 Radiologický technik</c:v>
                </c:pt>
                <c:pt idx="33">
                  <c:v>§ 32 Nutriční asistent</c:v>
                </c:pt>
                <c:pt idx="34">
                  <c:v>§ 23a Zrakový terapeut</c:v>
                </c:pt>
                <c:pt idx="35">
                  <c:v>§ 41 Autoptický laborant</c:v>
                </c:pt>
              </c:strCache>
            </c:strRef>
          </c:cat>
          <c:val>
            <c:numRef>
              <c:f>List1!$B$2:$B$37</c:f>
              <c:numCache>
                <c:formatCode>General</c:formatCode>
                <c:ptCount val="36"/>
                <c:pt idx="0">
                  <c:v>2289</c:v>
                </c:pt>
                <c:pt idx="1">
                  <c:v>1221</c:v>
                </c:pt>
                <c:pt idx="2">
                  <c:v>941</c:v>
                </c:pt>
                <c:pt idx="3">
                  <c:v>903</c:v>
                </c:pt>
                <c:pt idx="4">
                  <c:v>751</c:v>
                </c:pt>
                <c:pt idx="5">
                  <c:v>517</c:v>
                </c:pt>
                <c:pt idx="6">
                  <c:v>469</c:v>
                </c:pt>
                <c:pt idx="7">
                  <c:v>426</c:v>
                </c:pt>
                <c:pt idx="8">
                  <c:v>424</c:v>
                </c:pt>
                <c:pt idx="9">
                  <c:v>386</c:v>
                </c:pt>
                <c:pt idx="10">
                  <c:v>275</c:v>
                </c:pt>
                <c:pt idx="11">
                  <c:v>239</c:v>
                </c:pt>
                <c:pt idx="12">
                  <c:v>209</c:v>
                </c:pt>
                <c:pt idx="13">
                  <c:v>185</c:v>
                </c:pt>
                <c:pt idx="14">
                  <c:v>174</c:v>
                </c:pt>
                <c:pt idx="15">
                  <c:v>119</c:v>
                </c:pt>
                <c:pt idx="16">
                  <c:v>112</c:v>
                </c:pt>
                <c:pt idx="17">
                  <c:v>111</c:v>
                </c:pt>
                <c:pt idx="18">
                  <c:v>106</c:v>
                </c:pt>
                <c:pt idx="19">
                  <c:v>102</c:v>
                </c:pt>
                <c:pt idx="20">
                  <c:v>96</c:v>
                </c:pt>
                <c:pt idx="21">
                  <c:v>92</c:v>
                </c:pt>
                <c:pt idx="22">
                  <c:v>46</c:v>
                </c:pt>
                <c:pt idx="23">
                  <c:v>30</c:v>
                </c:pt>
                <c:pt idx="24">
                  <c:v>29</c:v>
                </c:pt>
                <c:pt idx="25">
                  <c:v>24</c:v>
                </c:pt>
                <c:pt idx="26">
                  <c:v>23</c:v>
                </c:pt>
                <c:pt idx="27">
                  <c:v>23</c:v>
                </c:pt>
                <c:pt idx="28">
                  <c:v>16</c:v>
                </c:pt>
                <c:pt idx="29">
                  <c:v>14</c:v>
                </c:pt>
                <c:pt idx="30">
                  <c:v>8</c:v>
                </c:pt>
                <c:pt idx="31">
                  <c:v>5</c:v>
                </c:pt>
                <c:pt idx="32">
                  <c:v>4</c:v>
                </c:pt>
                <c:pt idx="33">
                  <c:v>3</c:v>
                </c:pt>
                <c:pt idx="34">
                  <c:v>1</c:v>
                </c:pt>
                <c:pt idx="35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EDC-4FEF-9A9E-83836E26FF1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0"/>
        <c:overlap val="100"/>
        <c:axId val="320460415"/>
        <c:axId val="315793487"/>
      </c:barChart>
      <c:catAx>
        <c:axId val="320460415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15793487"/>
        <c:crosses val="autoZero"/>
        <c:auto val="1"/>
        <c:lblAlgn val="ctr"/>
        <c:lblOffset val="100"/>
        <c:tickLblSkip val="1"/>
        <c:noMultiLvlLbl val="0"/>
      </c:catAx>
      <c:valAx>
        <c:axId val="315793487"/>
        <c:scaling>
          <c:orientation val="minMax"/>
        </c:scaling>
        <c:delete val="0"/>
        <c:axPos val="t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20460415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2895491925027349E-2"/>
          <c:y val="2.8733097084892491E-2"/>
          <c:w val="0.69322079746689458"/>
          <c:h val="0.83918438300516462"/>
        </c:manualLayout>
      </c:layout>
      <c:lineChart>
        <c:grouping val="standar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Lékaři</c:v>
                </c:pt>
              </c:strCache>
            </c:strRef>
          </c:tx>
          <c:spPr>
            <a:ln w="6350" cap="rnd">
              <a:solidFill>
                <a:srgbClr val="4472C4"/>
              </a:solidFill>
              <a:prstDash val="solid"/>
              <a:round/>
            </a:ln>
            <a:effectLst/>
          </c:spPr>
          <c:marker>
            <c:symbol val="none"/>
          </c:marker>
          <c:dLbls>
            <c:dLbl>
              <c:idx val="182"/>
              <c:layout>
                <c:manualLayout>
                  <c:x val="-1.3019527064393282E-16"/>
                  <c:y val="9.3251132826876887E-3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0"/>
                <a:lstStyle/>
                <a:p>
                  <a:pPr algn="l">
                    <a:defRPr sz="1200" b="1" i="0" u="none" strike="noStrike" kern="1200" baseline="0">
                      <a:solidFill>
                        <a:srgbClr val="4472C4"/>
                      </a:solidFill>
                      <a:latin typeface="Calibri" panose="020F0502020204030204" pitchFamily="34" charset="0"/>
                      <a:ea typeface="+mn-ea"/>
                      <a:cs typeface="Calibri" panose="020F0502020204030204" pitchFamily="34" charset="0"/>
                    </a:defRPr>
                  </a:pPr>
                  <a:endParaRPr lang="cs-CZ"/>
                </a:p>
              </c:txPr>
              <c:dLblPos val="r"/>
              <c:showLegendKey val="0"/>
              <c:showVal val="1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4601304996662368"/>
                      <c:h val="4.1147062359859425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4-CC25-463F-AAD4-4AD72ABB9622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Calibri" panose="020F0502020204030204" pitchFamily="34" charset="0"/>
                    <a:ea typeface="+mn-ea"/>
                    <a:cs typeface="Calibri" panose="020F0502020204030204" pitchFamily="34" charset="0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trendline>
            <c:spPr>
              <a:ln w="25400" cap="rnd">
                <a:solidFill>
                  <a:srgbClr val="4472C4"/>
                </a:solidFill>
                <a:prstDash val="solid"/>
              </a:ln>
              <a:effectLst/>
            </c:spPr>
            <c:trendlineType val="movingAvg"/>
            <c:period val="7"/>
            <c:dispRSqr val="0"/>
            <c:dispEq val="0"/>
          </c:trendline>
          <c:cat>
            <c:strRef>
              <c:f>List1!$B$1:$GB$1</c:f>
              <c:strCache>
                <c:ptCount val="183"/>
                <c:pt idx="0">
                  <c:v>03.09.21</c:v>
                </c:pt>
                <c:pt idx="1">
                  <c:v>04.09.21</c:v>
                </c:pt>
                <c:pt idx="2">
                  <c:v>05.09.21</c:v>
                </c:pt>
                <c:pt idx="3">
                  <c:v>06.09.21</c:v>
                </c:pt>
                <c:pt idx="4">
                  <c:v>07.09.21</c:v>
                </c:pt>
                <c:pt idx="5">
                  <c:v>08.09.21</c:v>
                </c:pt>
                <c:pt idx="6">
                  <c:v>09.09.21</c:v>
                </c:pt>
                <c:pt idx="7">
                  <c:v>10.09.21</c:v>
                </c:pt>
                <c:pt idx="8">
                  <c:v>11.09.21</c:v>
                </c:pt>
                <c:pt idx="9">
                  <c:v>12.09.21</c:v>
                </c:pt>
                <c:pt idx="10">
                  <c:v>13.09.21</c:v>
                </c:pt>
                <c:pt idx="11">
                  <c:v>14.09.21</c:v>
                </c:pt>
                <c:pt idx="12">
                  <c:v>15.09.21</c:v>
                </c:pt>
                <c:pt idx="13">
                  <c:v>16.09.21</c:v>
                </c:pt>
                <c:pt idx="14">
                  <c:v>17.09.21</c:v>
                </c:pt>
                <c:pt idx="15">
                  <c:v>18.09.21</c:v>
                </c:pt>
                <c:pt idx="16">
                  <c:v>19.09.21</c:v>
                </c:pt>
                <c:pt idx="17">
                  <c:v>20.09.21</c:v>
                </c:pt>
                <c:pt idx="18">
                  <c:v>21.09.21</c:v>
                </c:pt>
                <c:pt idx="19">
                  <c:v>22.09.21</c:v>
                </c:pt>
                <c:pt idx="20">
                  <c:v>23.09.21</c:v>
                </c:pt>
                <c:pt idx="21">
                  <c:v>24.09.21</c:v>
                </c:pt>
                <c:pt idx="22">
                  <c:v>25.09.21</c:v>
                </c:pt>
                <c:pt idx="23">
                  <c:v>26.09.21</c:v>
                </c:pt>
                <c:pt idx="24">
                  <c:v>27.09.21</c:v>
                </c:pt>
                <c:pt idx="25">
                  <c:v>28.09.21</c:v>
                </c:pt>
                <c:pt idx="26">
                  <c:v>29.09.21</c:v>
                </c:pt>
                <c:pt idx="27">
                  <c:v>30.09.21</c:v>
                </c:pt>
                <c:pt idx="28">
                  <c:v>01.10.21</c:v>
                </c:pt>
                <c:pt idx="29">
                  <c:v>02.10.21</c:v>
                </c:pt>
                <c:pt idx="30">
                  <c:v>03.10.21</c:v>
                </c:pt>
                <c:pt idx="31">
                  <c:v>04.10.21</c:v>
                </c:pt>
                <c:pt idx="32">
                  <c:v>05.10.21</c:v>
                </c:pt>
                <c:pt idx="33">
                  <c:v>06.10.21</c:v>
                </c:pt>
                <c:pt idx="34">
                  <c:v>07.10.21</c:v>
                </c:pt>
                <c:pt idx="35">
                  <c:v>08.10.21</c:v>
                </c:pt>
                <c:pt idx="36">
                  <c:v>09.10.21</c:v>
                </c:pt>
                <c:pt idx="37">
                  <c:v>10.10.21</c:v>
                </c:pt>
                <c:pt idx="38">
                  <c:v>11.10.21</c:v>
                </c:pt>
                <c:pt idx="39">
                  <c:v>12.10.21</c:v>
                </c:pt>
                <c:pt idx="40">
                  <c:v>13.10.21</c:v>
                </c:pt>
                <c:pt idx="41">
                  <c:v>14.10.21</c:v>
                </c:pt>
                <c:pt idx="42">
                  <c:v>15.10.21</c:v>
                </c:pt>
                <c:pt idx="43">
                  <c:v>16.10.21</c:v>
                </c:pt>
                <c:pt idx="44">
                  <c:v>17.10.21</c:v>
                </c:pt>
                <c:pt idx="45">
                  <c:v>18.10.21</c:v>
                </c:pt>
                <c:pt idx="46">
                  <c:v>19.10.21</c:v>
                </c:pt>
                <c:pt idx="47">
                  <c:v>20.10.21</c:v>
                </c:pt>
                <c:pt idx="48">
                  <c:v>21.10.21</c:v>
                </c:pt>
                <c:pt idx="49">
                  <c:v>22.10.21</c:v>
                </c:pt>
                <c:pt idx="50">
                  <c:v>23.10.21</c:v>
                </c:pt>
                <c:pt idx="51">
                  <c:v>24.10.21</c:v>
                </c:pt>
                <c:pt idx="52">
                  <c:v>25.10.21</c:v>
                </c:pt>
                <c:pt idx="53">
                  <c:v>26.10.21</c:v>
                </c:pt>
                <c:pt idx="54">
                  <c:v>27.10.21</c:v>
                </c:pt>
                <c:pt idx="55">
                  <c:v>28.10.21</c:v>
                </c:pt>
                <c:pt idx="56">
                  <c:v>29.10.21</c:v>
                </c:pt>
                <c:pt idx="57">
                  <c:v>30.10.21</c:v>
                </c:pt>
                <c:pt idx="58">
                  <c:v>31.10.21</c:v>
                </c:pt>
                <c:pt idx="59">
                  <c:v>01.11.21</c:v>
                </c:pt>
                <c:pt idx="60">
                  <c:v>02.11.21</c:v>
                </c:pt>
                <c:pt idx="61">
                  <c:v>03.11.21</c:v>
                </c:pt>
                <c:pt idx="62">
                  <c:v>04.11.21</c:v>
                </c:pt>
                <c:pt idx="63">
                  <c:v>05.11.21</c:v>
                </c:pt>
                <c:pt idx="64">
                  <c:v>06.11.21</c:v>
                </c:pt>
                <c:pt idx="65">
                  <c:v>07.11.21</c:v>
                </c:pt>
                <c:pt idx="66">
                  <c:v>08.11.21</c:v>
                </c:pt>
                <c:pt idx="67">
                  <c:v>09.11.21</c:v>
                </c:pt>
                <c:pt idx="68">
                  <c:v>10.11.21</c:v>
                </c:pt>
                <c:pt idx="69">
                  <c:v>11.11.21</c:v>
                </c:pt>
                <c:pt idx="70">
                  <c:v>12.11.21</c:v>
                </c:pt>
                <c:pt idx="71">
                  <c:v>13.11.21</c:v>
                </c:pt>
                <c:pt idx="72">
                  <c:v>14.11.21</c:v>
                </c:pt>
                <c:pt idx="73">
                  <c:v>15.11.21</c:v>
                </c:pt>
                <c:pt idx="74">
                  <c:v>16.11.21</c:v>
                </c:pt>
                <c:pt idx="75">
                  <c:v>17.11.21</c:v>
                </c:pt>
                <c:pt idx="76">
                  <c:v>18.11.21</c:v>
                </c:pt>
                <c:pt idx="77">
                  <c:v>19.11.21</c:v>
                </c:pt>
                <c:pt idx="78">
                  <c:v>20.11.21</c:v>
                </c:pt>
                <c:pt idx="79">
                  <c:v>21.11.21</c:v>
                </c:pt>
                <c:pt idx="80">
                  <c:v>22.11.21</c:v>
                </c:pt>
                <c:pt idx="81">
                  <c:v>23.11.21</c:v>
                </c:pt>
                <c:pt idx="82">
                  <c:v>24.11.21</c:v>
                </c:pt>
                <c:pt idx="83">
                  <c:v>25.11.21</c:v>
                </c:pt>
                <c:pt idx="84">
                  <c:v>26.11.21</c:v>
                </c:pt>
                <c:pt idx="85">
                  <c:v>27.11.21</c:v>
                </c:pt>
                <c:pt idx="86">
                  <c:v>28.11.21</c:v>
                </c:pt>
                <c:pt idx="87">
                  <c:v>29.11.21</c:v>
                </c:pt>
                <c:pt idx="88">
                  <c:v>30.11.21</c:v>
                </c:pt>
                <c:pt idx="89">
                  <c:v>01.12.21</c:v>
                </c:pt>
                <c:pt idx="90">
                  <c:v>02.12.21</c:v>
                </c:pt>
                <c:pt idx="91">
                  <c:v>03.12.21</c:v>
                </c:pt>
                <c:pt idx="92">
                  <c:v>04.12.21</c:v>
                </c:pt>
                <c:pt idx="93">
                  <c:v>05.12.21</c:v>
                </c:pt>
                <c:pt idx="94">
                  <c:v>06.12.21</c:v>
                </c:pt>
                <c:pt idx="95">
                  <c:v>07.12.21</c:v>
                </c:pt>
                <c:pt idx="96">
                  <c:v>08.12.21</c:v>
                </c:pt>
                <c:pt idx="97">
                  <c:v>09.12.21</c:v>
                </c:pt>
                <c:pt idx="98">
                  <c:v>10.12.21</c:v>
                </c:pt>
                <c:pt idx="99">
                  <c:v>11.12.21</c:v>
                </c:pt>
                <c:pt idx="100">
                  <c:v>12.12.21</c:v>
                </c:pt>
                <c:pt idx="101">
                  <c:v>13.12.21</c:v>
                </c:pt>
                <c:pt idx="102">
                  <c:v>14.12.21</c:v>
                </c:pt>
                <c:pt idx="103">
                  <c:v>15.12.21</c:v>
                </c:pt>
                <c:pt idx="104">
                  <c:v>16.12.21</c:v>
                </c:pt>
                <c:pt idx="105">
                  <c:v>17.12.21</c:v>
                </c:pt>
                <c:pt idx="106">
                  <c:v>18.12.21</c:v>
                </c:pt>
                <c:pt idx="107">
                  <c:v>19.12.21</c:v>
                </c:pt>
                <c:pt idx="108">
                  <c:v>20.12.21</c:v>
                </c:pt>
                <c:pt idx="109">
                  <c:v>21.12.21</c:v>
                </c:pt>
                <c:pt idx="110">
                  <c:v>22.12.21</c:v>
                </c:pt>
                <c:pt idx="111">
                  <c:v>23.12.21</c:v>
                </c:pt>
                <c:pt idx="112">
                  <c:v>24.12.21</c:v>
                </c:pt>
                <c:pt idx="113">
                  <c:v>25.12.21</c:v>
                </c:pt>
                <c:pt idx="114">
                  <c:v>26.12.21</c:v>
                </c:pt>
                <c:pt idx="115">
                  <c:v>27.12.21</c:v>
                </c:pt>
                <c:pt idx="116">
                  <c:v>28.12.21</c:v>
                </c:pt>
                <c:pt idx="117">
                  <c:v>29.12.21</c:v>
                </c:pt>
                <c:pt idx="118">
                  <c:v>30.12.21</c:v>
                </c:pt>
                <c:pt idx="119">
                  <c:v>31.12.21</c:v>
                </c:pt>
                <c:pt idx="120">
                  <c:v>01.01.22</c:v>
                </c:pt>
                <c:pt idx="121">
                  <c:v>02.01.22</c:v>
                </c:pt>
                <c:pt idx="122">
                  <c:v>03.01.22</c:v>
                </c:pt>
                <c:pt idx="123">
                  <c:v>04.01.22</c:v>
                </c:pt>
                <c:pt idx="124">
                  <c:v>05.01.22</c:v>
                </c:pt>
                <c:pt idx="125">
                  <c:v>06.01.22</c:v>
                </c:pt>
                <c:pt idx="126">
                  <c:v>07.01.22</c:v>
                </c:pt>
                <c:pt idx="127">
                  <c:v>08.01.22</c:v>
                </c:pt>
                <c:pt idx="128">
                  <c:v>09.01.22</c:v>
                </c:pt>
                <c:pt idx="129">
                  <c:v>10.01.22</c:v>
                </c:pt>
                <c:pt idx="130">
                  <c:v>11.01.22</c:v>
                </c:pt>
                <c:pt idx="131">
                  <c:v>12.01.22</c:v>
                </c:pt>
                <c:pt idx="132">
                  <c:v>13.01.22</c:v>
                </c:pt>
                <c:pt idx="133">
                  <c:v>14.01.22</c:v>
                </c:pt>
                <c:pt idx="134">
                  <c:v>15.01.22</c:v>
                </c:pt>
                <c:pt idx="135">
                  <c:v>16.01.22</c:v>
                </c:pt>
                <c:pt idx="136">
                  <c:v>17.01.22</c:v>
                </c:pt>
                <c:pt idx="137">
                  <c:v>18.01.22</c:v>
                </c:pt>
                <c:pt idx="138">
                  <c:v>19.01.22</c:v>
                </c:pt>
                <c:pt idx="139">
                  <c:v>20.01.22</c:v>
                </c:pt>
                <c:pt idx="140">
                  <c:v>21.01.22</c:v>
                </c:pt>
                <c:pt idx="141">
                  <c:v>22.01.22</c:v>
                </c:pt>
                <c:pt idx="142">
                  <c:v>23.01.22</c:v>
                </c:pt>
                <c:pt idx="143">
                  <c:v>24.01.22</c:v>
                </c:pt>
                <c:pt idx="144">
                  <c:v>25.01.22</c:v>
                </c:pt>
                <c:pt idx="145">
                  <c:v>26.01.22</c:v>
                </c:pt>
                <c:pt idx="146">
                  <c:v>27.01.22</c:v>
                </c:pt>
                <c:pt idx="147">
                  <c:v>28.01.22</c:v>
                </c:pt>
                <c:pt idx="148">
                  <c:v>29.01.22</c:v>
                </c:pt>
                <c:pt idx="149">
                  <c:v>30.01.22</c:v>
                </c:pt>
                <c:pt idx="150">
                  <c:v>31.01.22</c:v>
                </c:pt>
                <c:pt idx="151">
                  <c:v>01.02.22</c:v>
                </c:pt>
                <c:pt idx="152">
                  <c:v>02.02.22</c:v>
                </c:pt>
                <c:pt idx="153">
                  <c:v>03.02.22</c:v>
                </c:pt>
                <c:pt idx="154">
                  <c:v>04.02.22</c:v>
                </c:pt>
                <c:pt idx="155">
                  <c:v>05.02.22</c:v>
                </c:pt>
                <c:pt idx="156">
                  <c:v>06.02.22</c:v>
                </c:pt>
                <c:pt idx="157">
                  <c:v>07.02.22</c:v>
                </c:pt>
                <c:pt idx="158">
                  <c:v>08.02.22</c:v>
                </c:pt>
                <c:pt idx="159">
                  <c:v>09.02.22</c:v>
                </c:pt>
                <c:pt idx="160">
                  <c:v>10.02.22</c:v>
                </c:pt>
                <c:pt idx="161">
                  <c:v>11.02.22</c:v>
                </c:pt>
                <c:pt idx="162">
                  <c:v>12.02.22</c:v>
                </c:pt>
                <c:pt idx="163">
                  <c:v>13.02.22</c:v>
                </c:pt>
                <c:pt idx="164">
                  <c:v>14.02.22</c:v>
                </c:pt>
                <c:pt idx="165">
                  <c:v>15.02.22</c:v>
                </c:pt>
                <c:pt idx="166">
                  <c:v>16.02.22</c:v>
                </c:pt>
                <c:pt idx="167">
                  <c:v>17.02.22</c:v>
                </c:pt>
                <c:pt idx="168">
                  <c:v>18.02.22</c:v>
                </c:pt>
                <c:pt idx="169">
                  <c:v>19.02.22</c:v>
                </c:pt>
                <c:pt idx="170">
                  <c:v>20.02.22</c:v>
                </c:pt>
                <c:pt idx="171">
                  <c:v>21.02.22</c:v>
                </c:pt>
                <c:pt idx="172">
                  <c:v>22.02.22</c:v>
                </c:pt>
                <c:pt idx="173">
                  <c:v>23.02.22</c:v>
                </c:pt>
                <c:pt idx="174">
                  <c:v>24.02.22</c:v>
                </c:pt>
                <c:pt idx="175">
                  <c:v>25.02.22</c:v>
                </c:pt>
                <c:pt idx="176">
                  <c:v>26.02.22</c:v>
                </c:pt>
                <c:pt idx="177">
                  <c:v>27.02.22</c:v>
                </c:pt>
                <c:pt idx="178">
                  <c:v>28.02.22</c:v>
                </c:pt>
                <c:pt idx="179">
                  <c:v>01.03.22</c:v>
                </c:pt>
                <c:pt idx="180">
                  <c:v>02.03.22</c:v>
                </c:pt>
                <c:pt idx="181">
                  <c:v>03.03.22</c:v>
                </c:pt>
                <c:pt idx="182">
                  <c:v>04.03.22</c:v>
                </c:pt>
              </c:strCache>
            </c:strRef>
          </c:cat>
          <c:val>
            <c:numRef>
              <c:f>List1!$B$2:$GB$2</c:f>
              <c:numCache>
                <c:formatCode>General</c:formatCode>
                <c:ptCount val="183"/>
                <c:pt idx="0">
                  <c:v>1</c:v>
                </c:pt>
                <c:pt idx="1">
                  <c:v>3</c:v>
                </c:pt>
                <c:pt idx="2">
                  <c:v>1</c:v>
                </c:pt>
                <c:pt idx="3">
                  <c:v>0</c:v>
                </c:pt>
                <c:pt idx="4">
                  <c:v>2</c:v>
                </c:pt>
                <c:pt idx="5">
                  <c:v>0</c:v>
                </c:pt>
                <c:pt idx="6">
                  <c:v>0</c:v>
                </c:pt>
                <c:pt idx="7">
                  <c:v>3</c:v>
                </c:pt>
                <c:pt idx="8">
                  <c:v>3</c:v>
                </c:pt>
                <c:pt idx="9">
                  <c:v>0</c:v>
                </c:pt>
                <c:pt idx="10">
                  <c:v>4</c:v>
                </c:pt>
                <c:pt idx="11">
                  <c:v>2</c:v>
                </c:pt>
                <c:pt idx="12">
                  <c:v>0</c:v>
                </c:pt>
                <c:pt idx="13">
                  <c:v>1</c:v>
                </c:pt>
                <c:pt idx="14">
                  <c:v>2</c:v>
                </c:pt>
                <c:pt idx="15">
                  <c:v>1</c:v>
                </c:pt>
                <c:pt idx="16">
                  <c:v>1</c:v>
                </c:pt>
                <c:pt idx="17">
                  <c:v>0</c:v>
                </c:pt>
                <c:pt idx="18">
                  <c:v>3</c:v>
                </c:pt>
                <c:pt idx="19">
                  <c:v>3</c:v>
                </c:pt>
                <c:pt idx="20">
                  <c:v>2</c:v>
                </c:pt>
                <c:pt idx="21">
                  <c:v>3</c:v>
                </c:pt>
                <c:pt idx="22">
                  <c:v>0</c:v>
                </c:pt>
                <c:pt idx="23">
                  <c:v>2</c:v>
                </c:pt>
                <c:pt idx="24">
                  <c:v>6</c:v>
                </c:pt>
                <c:pt idx="25">
                  <c:v>4</c:v>
                </c:pt>
                <c:pt idx="26">
                  <c:v>3</c:v>
                </c:pt>
                <c:pt idx="27">
                  <c:v>9</c:v>
                </c:pt>
                <c:pt idx="28">
                  <c:v>2</c:v>
                </c:pt>
                <c:pt idx="29">
                  <c:v>5</c:v>
                </c:pt>
                <c:pt idx="30">
                  <c:v>1</c:v>
                </c:pt>
                <c:pt idx="31">
                  <c:v>0</c:v>
                </c:pt>
                <c:pt idx="32">
                  <c:v>2</c:v>
                </c:pt>
                <c:pt idx="33">
                  <c:v>5</c:v>
                </c:pt>
                <c:pt idx="34">
                  <c:v>6</c:v>
                </c:pt>
                <c:pt idx="35">
                  <c:v>6</c:v>
                </c:pt>
                <c:pt idx="36">
                  <c:v>1</c:v>
                </c:pt>
                <c:pt idx="37">
                  <c:v>1</c:v>
                </c:pt>
                <c:pt idx="38">
                  <c:v>3</c:v>
                </c:pt>
                <c:pt idx="39">
                  <c:v>10</c:v>
                </c:pt>
                <c:pt idx="40">
                  <c:v>7</c:v>
                </c:pt>
                <c:pt idx="41">
                  <c:v>7</c:v>
                </c:pt>
                <c:pt idx="42">
                  <c:v>6</c:v>
                </c:pt>
                <c:pt idx="43">
                  <c:v>5</c:v>
                </c:pt>
                <c:pt idx="44">
                  <c:v>8</c:v>
                </c:pt>
                <c:pt idx="45">
                  <c:v>17</c:v>
                </c:pt>
                <c:pt idx="46">
                  <c:v>16</c:v>
                </c:pt>
                <c:pt idx="47">
                  <c:v>13</c:v>
                </c:pt>
                <c:pt idx="48">
                  <c:v>13</c:v>
                </c:pt>
                <c:pt idx="49">
                  <c:v>16</c:v>
                </c:pt>
                <c:pt idx="50">
                  <c:v>13</c:v>
                </c:pt>
                <c:pt idx="51">
                  <c:v>12</c:v>
                </c:pt>
                <c:pt idx="52">
                  <c:v>28</c:v>
                </c:pt>
                <c:pt idx="53">
                  <c:v>20</c:v>
                </c:pt>
                <c:pt idx="54">
                  <c:v>25</c:v>
                </c:pt>
                <c:pt idx="55">
                  <c:v>22</c:v>
                </c:pt>
                <c:pt idx="56">
                  <c:v>36</c:v>
                </c:pt>
                <c:pt idx="57">
                  <c:v>21</c:v>
                </c:pt>
                <c:pt idx="58">
                  <c:v>18</c:v>
                </c:pt>
                <c:pt idx="59">
                  <c:v>55</c:v>
                </c:pt>
                <c:pt idx="60">
                  <c:v>37</c:v>
                </c:pt>
                <c:pt idx="61">
                  <c:v>38</c:v>
                </c:pt>
                <c:pt idx="62">
                  <c:v>27</c:v>
                </c:pt>
                <c:pt idx="63">
                  <c:v>40</c:v>
                </c:pt>
                <c:pt idx="64">
                  <c:v>20</c:v>
                </c:pt>
                <c:pt idx="65">
                  <c:v>18</c:v>
                </c:pt>
                <c:pt idx="66">
                  <c:v>52</c:v>
                </c:pt>
                <c:pt idx="67">
                  <c:v>47</c:v>
                </c:pt>
                <c:pt idx="68">
                  <c:v>47</c:v>
                </c:pt>
                <c:pt idx="69">
                  <c:v>49</c:v>
                </c:pt>
                <c:pt idx="70">
                  <c:v>41</c:v>
                </c:pt>
                <c:pt idx="71">
                  <c:v>48</c:v>
                </c:pt>
                <c:pt idx="72">
                  <c:v>22</c:v>
                </c:pt>
                <c:pt idx="73">
                  <c:v>63</c:v>
                </c:pt>
                <c:pt idx="74">
                  <c:v>56</c:v>
                </c:pt>
                <c:pt idx="75">
                  <c:v>43</c:v>
                </c:pt>
                <c:pt idx="76">
                  <c:v>53</c:v>
                </c:pt>
                <c:pt idx="77">
                  <c:v>77</c:v>
                </c:pt>
                <c:pt idx="78">
                  <c:v>46</c:v>
                </c:pt>
                <c:pt idx="79">
                  <c:v>32</c:v>
                </c:pt>
                <c:pt idx="80">
                  <c:v>61</c:v>
                </c:pt>
                <c:pt idx="81">
                  <c:v>69</c:v>
                </c:pt>
                <c:pt idx="82">
                  <c:v>41</c:v>
                </c:pt>
                <c:pt idx="83">
                  <c:v>66</c:v>
                </c:pt>
                <c:pt idx="84">
                  <c:v>51</c:v>
                </c:pt>
                <c:pt idx="85">
                  <c:v>35</c:v>
                </c:pt>
                <c:pt idx="86">
                  <c:v>38</c:v>
                </c:pt>
                <c:pt idx="87">
                  <c:v>57</c:v>
                </c:pt>
                <c:pt idx="88">
                  <c:v>45</c:v>
                </c:pt>
                <c:pt idx="89">
                  <c:v>56</c:v>
                </c:pt>
                <c:pt idx="90">
                  <c:v>40</c:v>
                </c:pt>
                <c:pt idx="91">
                  <c:v>50</c:v>
                </c:pt>
                <c:pt idx="92">
                  <c:v>24</c:v>
                </c:pt>
                <c:pt idx="93">
                  <c:v>15</c:v>
                </c:pt>
                <c:pt idx="94">
                  <c:v>45</c:v>
                </c:pt>
                <c:pt idx="95">
                  <c:v>40</c:v>
                </c:pt>
                <c:pt idx="96">
                  <c:v>30</c:v>
                </c:pt>
                <c:pt idx="97">
                  <c:v>30</c:v>
                </c:pt>
                <c:pt idx="98">
                  <c:v>33</c:v>
                </c:pt>
                <c:pt idx="99">
                  <c:v>19</c:v>
                </c:pt>
                <c:pt idx="100">
                  <c:v>11</c:v>
                </c:pt>
                <c:pt idx="101">
                  <c:v>28</c:v>
                </c:pt>
                <c:pt idx="102">
                  <c:v>25</c:v>
                </c:pt>
                <c:pt idx="103">
                  <c:v>24</c:v>
                </c:pt>
                <c:pt idx="104">
                  <c:v>16</c:v>
                </c:pt>
                <c:pt idx="105">
                  <c:v>22</c:v>
                </c:pt>
                <c:pt idx="106">
                  <c:v>19</c:v>
                </c:pt>
                <c:pt idx="107">
                  <c:v>15</c:v>
                </c:pt>
                <c:pt idx="108">
                  <c:v>27</c:v>
                </c:pt>
                <c:pt idx="109">
                  <c:v>27</c:v>
                </c:pt>
                <c:pt idx="110">
                  <c:v>21</c:v>
                </c:pt>
                <c:pt idx="111">
                  <c:v>23</c:v>
                </c:pt>
                <c:pt idx="112">
                  <c:v>4</c:v>
                </c:pt>
                <c:pt idx="113">
                  <c:v>11</c:v>
                </c:pt>
                <c:pt idx="114">
                  <c:v>8</c:v>
                </c:pt>
                <c:pt idx="115">
                  <c:v>25</c:v>
                </c:pt>
                <c:pt idx="116">
                  <c:v>32</c:v>
                </c:pt>
                <c:pt idx="117">
                  <c:v>23</c:v>
                </c:pt>
                <c:pt idx="118">
                  <c:v>20</c:v>
                </c:pt>
                <c:pt idx="119">
                  <c:v>19</c:v>
                </c:pt>
                <c:pt idx="120">
                  <c:v>6</c:v>
                </c:pt>
                <c:pt idx="121">
                  <c:v>24</c:v>
                </c:pt>
                <c:pt idx="122">
                  <c:v>33</c:v>
                </c:pt>
                <c:pt idx="123">
                  <c:v>26</c:v>
                </c:pt>
                <c:pt idx="124">
                  <c:v>20</c:v>
                </c:pt>
                <c:pt idx="125">
                  <c:v>25</c:v>
                </c:pt>
                <c:pt idx="126">
                  <c:v>18</c:v>
                </c:pt>
                <c:pt idx="127">
                  <c:v>17</c:v>
                </c:pt>
                <c:pt idx="128">
                  <c:v>13</c:v>
                </c:pt>
                <c:pt idx="129">
                  <c:v>32</c:v>
                </c:pt>
                <c:pt idx="130">
                  <c:v>46</c:v>
                </c:pt>
                <c:pt idx="131">
                  <c:v>70</c:v>
                </c:pt>
                <c:pt idx="132">
                  <c:v>38</c:v>
                </c:pt>
                <c:pt idx="133">
                  <c:v>45</c:v>
                </c:pt>
                <c:pt idx="134">
                  <c:v>31</c:v>
                </c:pt>
                <c:pt idx="135">
                  <c:v>41</c:v>
                </c:pt>
                <c:pt idx="136">
                  <c:v>108</c:v>
                </c:pt>
                <c:pt idx="137">
                  <c:v>86</c:v>
                </c:pt>
                <c:pt idx="138">
                  <c:v>113</c:v>
                </c:pt>
                <c:pt idx="139">
                  <c:v>109</c:v>
                </c:pt>
                <c:pt idx="140">
                  <c:v>88</c:v>
                </c:pt>
                <c:pt idx="141">
                  <c:v>57</c:v>
                </c:pt>
                <c:pt idx="142">
                  <c:v>70</c:v>
                </c:pt>
                <c:pt idx="143">
                  <c:v>175</c:v>
                </c:pt>
                <c:pt idx="144">
                  <c:v>155</c:v>
                </c:pt>
                <c:pt idx="145">
                  <c:v>167</c:v>
                </c:pt>
                <c:pt idx="146">
                  <c:v>121</c:v>
                </c:pt>
                <c:pt idx="147">
                  <c:v>149</c:v>
                </c:pt>
                <c:pt idx="148">
                  <c:v>58</c:v>
                </c:pt>
                <c:pt idx="149">
                  <c:v>100</c:v>
                </c:pt>
                <c:pt idx="150">
                  <c:v>166</c:v>
                </c:pt>
                <c:pt idx="151">
                  <c:v>191</c:v>
                </c:pt>
                <c:pt idx="152">
                  <c:v>144</c:v>
                </c:pt>
                <c:pt idx="153">
                  <c:v>123</c:v>
                </c:pt>
                <c:pt idx="154">
                  <c:v>112</c:v>
                </c:pt>
                <c:pt idx="155">
                  <c:v>74</c:v>
                </c:pt>
                <c:pt idx="156">
                  <c:v>51</c:v>
                </c:pt>
                <c:pt idx="157">
                  <c:v>124</c:v>
                </c:pt>
                <c:pt idx="158">
                  <c:v>112</c:v>
                </c:pt>
                <c:pt idx="159">
                  <c:v>91</c:v>
                </c:pt>
                <c:pt idx="160">
                  <c:v>89</c:v>
                </c:pt>
                <c:pt idx="161">
                  <c:v>88</c:v>
                </c:pt>
                <c:pt idx="162">
                  <c:v>42</c:v>
                </c:pt>
                <c:pt idx="163">
                  <c:v>39</c:v>
                </c:pt>
                <c:pt idx="164">
                  <c:v>126</c:v>
                </c:pt>
                <c:pt idx="165">
                  <c:v>81</c:v>
                </c:pt>
                <c:pt idx="166">
                  <c:v>77</c:v>
                </c:pt>
                <c:pt idx="167">
                  <c:v>60</c:v>
                </c:pt>
                <c:pt idx="168">
                  <c:v>60</c:v>
                </c:pt>
                <c:pt idx="169">
                  <c:v>37</c:v>
                </c:pt>
                <c:pt idx="170">
                  <c:v>33</c:v>
                </c:pt>
                <c:pt idx="171">
                  <c:v>66</c:v>
                </c:pt>
                <c:pt idx="172">
                  <c:v>51</c:v>
                </c:pt>
                <c:pt idx="173">
                  <c:v>48</c:v>
                </c:pt>
                <c:pt idx="174">
                  <c:v>44</c:v>
                </c:pt>
                <c:pt idx="175">
                  <c:v>37</c:v>
                </c:pt>
                <c:pt idx="176">
                  <c:v>28</c:v>
                </c:pt>
                <c:pt idx="177">
                  <c:v>31</c:v>
                </c:pt>
                <c:pt idx="178">
                  <c:v>67</c:v>
                </c:pt>
                <c:pt idx="179">
                  <c:v>42</c:v>
                </c:pt>
                <c:pt idx="180">
                  <c:v>54</c:v>
                </c:pt>
                <c:pt idx="181">
                  <c:v>41</c:v>
                </c:pt>
                <c:pt idx="182">
                  <c:v>4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E8FD-43E4-BA1D-0B494D841FF9}"/>
            </c:ext>
          </c:extLst>
        </c:ser>
        <c:ser>
          <c:idx val="1"/>
          <c:order val="1"/>
          <c:tx>
            <c:strRef>
              <c:f>List1!$A$3</c:f>
              <c:strCache>
                <c:ptCount val="1"/>
                <c:pt idx="0">
                  <c:v>Sesterská povolání</c:v>
                </c:pt>
              </c:strCache>
            </c:strRef>
          </c:tx>
          <c:spPr>
            <a:ln w="6350" cap="rnd">
              <a:solidFill>
                <a:srgbClr val="ED7D31"/>
              </a:solidFill>
              <a:prstDash val="solid"/>
              <a:round/>
            </a:ln>
            <a:effectLst/>
          </c:spPr>
          <c:marker>
            <c:symbol val="none"/>
          </c:marker>
          <c:dLbls>
            <c:dLbl>
              <c:idx val="182"/>
              <c:layout>
                <c:manualLayout>
                  <c:x val="-1.7753406656392955E-3"/>
                  <c:y val="-1.1656299820748475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0"/>
                <a:lstStyle/>
                <a:p>
                  <a:pPr algn="l">
                    <a:defRPr sz="1200" b="1" i="0" u="none" strike="noStrike" kern="1200" baseline="0">
                      <a:solidFill>
                        <a:srgbClr val="ED7D31"/>
                      </a:solidFill>
                      <a:latin typeface="Calibri" panose="020F0502020204030204" pitchFamily="34" charset="0"/>
                      <a:ea typeface="+mn-ea"/>
                      <a:cs typeface="Calibri" panose="020F0502020204030204" pitchFamily="34" charset="0"/>
                    </a:defRPr>
                  </a:pPr>
                  <a:endParaRPr lang="cs-CZ"/>
                </a:p>
              </c:txPr>
              <c:dLblPos val="r"/>
              <c:showLegendKey val="0"/>
              <c:showVal val="1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2244118952507763"/>
                      <c:h val="7.5300289757703073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5-CC25-463F-AAD4-4AD72ABB9622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0"/>
              <a:lstStyle/>
              <a:p>
                <a:pPr algn="l">
                  <a:defRPr sz="1200" b="0" i="0" u="none" strike="noStrike" kern="1200" baseline="0">
                    <a:solidFill>
                      <a:schemeClr val="tx1"/>
                    </a:solidFill>
                    <a:latin typeface="Calibri" panose="020F0502020204030204" pitchFamily="34" charset="0"/>
                    <a:ea typeface="+mn-ea"/>
                    <a:cs typeface="Calibri" panose="020F0502020204030204" pitchFamily="34" charset="0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trendline>
            <c:spPr>
              <a:ln w="25400" cap="rnd">
                <a:solidFill>
                  <a:srgbClr val="ED7D31"/>
                </a:solidFill>
                <a:prstDash val="solid"/>
              </a:ln>
              <a:effectLst/>
            </c:spPr>
            <c:trendlineType val="movingAvg"/>
            <c:period val="7"/>
            <c:dispRSqr val="0"/>
            <c:dispEq val="0"/>
          </c:trendline>
          <c:cat>
            <c:strRef>
              <c:f>List1!$B$1:$GB$1</c:f>
              <c:strCache>
                <c:ptCount val="183"/>
                <c:pt idx="0">
                  <c:v>03.09.21</c:v>
                </c:pt>
                <c:pt idx="1">
                  <c:v>04.09.21</c:v>
                </c:pt>
                <c:pt idx="2">
                  <c:v>05.09.21</c:v>
                </c:pt>
                <c:pt idx="3">
                  <c:v>06.09.21</c:v>
                </c:pt>
                <c:pt idx="4">
                  <c:v>07.09.21</c:v>
                </c:pt>
                <c:pt idx="5">
                  <c:v>08.09.21</c:v>
                </c:pt>
                <c:pt idx="6">
                  <c:v>09.09.21</c:v>
                </c:pt>
                <c:pt idx="7">
                  <c:v>10.09.21</c:v>
                </c:pt>
                <c:pt idx="8">
                  <c:v>11.09.21</c:v>
                </c:pt>
                <c:pt idx="9">
                  <c:v>12.09.21</c:v>
                </c:pt>
                <c:pt idx="10">
                  <c:v>13.09.21</c:v>
                </c:pt>
                <c:pt idx="11">
                  <c:v>14.09.21</c:v>
                </c:pt>
                <c:pt idx="12">
                  <c:v>15.09.21</c:v>
                </c:pt>
                <c:pt idx="13">
                  <c:v>16.09.21</c:v>
                </c:pt>
                <c:pt idx="14">
                  <c:v>17.09.21</c:v>
                </c:pt>
                <c:pt idx="15">
                  <c:v>18.09.21</c:v>
                </c:pt>
                <c:pt idx="16">
                  <c:v>19.09.21</c:v>
                </c:pt>
                <c:pt idx="17">
                  <c:v>20.09.21</c:v>
                </c:pt>
                <c:pt idx="18">
                  <c:v>21.09.21</c:v>
                </c:pt>
                <c:pt idx="19">
                  <c:v>22.09.21</c:v>
                </c:pt>
                <c:pt idx="20">
                  <c:v>23.09.21</c:v>
                </c:pt>
                <c:pt idx="21">
                  <c:v>24.09.21</c:v>
                </c:pt>
                <c:pt idx="22">
                  <c:v>25.09.21</c:v>
                </c:pt>
                <c:pt idx="23">
                  <c:v>26.09.21</c:v>
                </c:pt>
                <c:pt idx="24">
                  <c:v>27.09.21</c:v>
                </c:pt>
                <c:pt idx="25">
                  <c:v>28.09.21</c:v>
                </c:pt>
                <c:pt idx="26">
                  <c:v>29.09.21</c:v>
                </c:pt>
                <c:pt idx="27">
                  <c:v>30.09.21</c:v>
                </c:pt>
                <c:pt idx="28">
                  <c:v>01.10.21</c:v>
                </c:pt>
                <c:pt idx="29">
                  <c:v>02.10.21</c:v>
                </c:pt>
                <c:pt idx="30">
                  <c:v>03.10.21</c:v>
                </c:pt>
                <c:pt idx="31">
                  <c:v>04.10.21</c:v>
                </c:pt>
                <c:pt idx="32">
                  <c:v>05.10.21</c:v>
                </c:pt>
                <c:pt idx="33">
                  <c:v>06.10.21</c:v>
                </c:pt>
                <c:pt idx="34">
                  <c:v>07.10.21</c:v>
                </c:pt>
                <c:pt idx="35">
                  <c:v>08.10.21</c:v>
                </c:pt>
                <c:pt idx="36">
                  <c:v>09.10.21</c:v>
                </c:pt>
                <c:pt idx="37">
                  <c:v>10.10.21</c:v>
                </c:pt>
                <c:pt idx="38">
                  <c:v>11.10.21</c:v>
                </c:pt>
                <c:pt idx="39">
                  <c:v>12.10.21</c:v>
                </c:pt>
                <c:pt idx="40">
                  <c:v>13.10.21</c:v>
                </c:pt>
                <c:pt idx="41">
                  <c:v>14.10.21</c:v>
                </c:pt>
                <c:pt idx="42">
                  <c:v>15.10.21</c:v>
                </c:pt>
                <c:pt idx="43">
                  <c:v>16.10.21</c:v>
                </c:pt>
                <c:pt idx="44">
                  <c:v>17.10.21</c:v>
                </c:pt>
                <c:pt idx="45">
                  <c:v>18.10.21</c:v>
                </c:pt>
                <c:pt idx="46">
                  <c:v>19.10.21</c:v>
                </c:pt>
                <c:pt idx="47">
                  <c:v>20.10.21</c:v>
                </c:pt>
                <c:pt idx="48">
                  <c:v>21.10.21</c:v>
                </c:pt>
                <c:pt idx="49">
                  <c:v>22.10.21</c:v>
                </c:pt>
                <c:pt idx="50">
                  <c:v>23.10.21</c:v>
                </c:pt>
                <c:pt idx="51">
                  <c:v>24.10.21</c:v>
                </c:pt>
                <c:pt idx="52">
                  <c:v>25.10.21</c:v>
                </c:pt>
                <c:pt idx="53">
                  <c:v>26.10.21</c:v>
                </c:pt>
                <c:pt idx="54">
                  <c:v>27.10.21</c:v>
                </c:pt>
                <c:pt idx="55">
                  <c:v>28.10.21</c:v>
                </c:pt>
                <c:pt idx="56">
                  <c:v>29.10.21</c:v>
                </c:pt>
                <c:pt idx="57">
                  <c:v>30.10.21</c:v>
                </c:pt>
                <c:pt idx="58">
                  <c:v>31.10.21</c:v>
                </c:pt>
                <c:pt idx="59">
                  <c:v>01.11.21</c:v>
                </c:pt>
                <c:pt idx="60">
                  <c:v>02.11.21</c:v>
                </c:pt>
                <c:pt idx="61">
                  <c:v>03.11.21</c:v>
                </c:pt>
                <c:pt idx="62">
                  <c:v>04.11.21</c:v>
                </c:pt>
                <c:pt idx="63">
                  <c:v>05.11.21</c:v>
                </c:pt>
                <c:pt idx="64">
                  <c:v>06.11.21</c:v>
                </c:pt>
                <c:pt idx="65">
                  <c:v>07.11.21</c:v>
                </c:pt>
                <c:pt idx="66">
                  <c:v>08.11.21</c:v>
                </c:pt>
                <c:pt idx="67">
                  <c:v>09.11.21</c:v>
                </c:pt>
                <c:pt idx="68">
                  <c:v>10.11.21</c:v>
                </c:pt>
                <c:pt idx="69">
                  <c:v>11.11.21</c:v>
                </c:pt>
                <c:pt idx="70">
                  <c:v>12.11.21</c:v>
                </c:pt>
                <c:pt idx="71">
                  <c:v>13.11.21</c:v>
                </c:pt>
                <c:pt idx="72">
                  <c:v>14.11.21</c:v>
                </c:pt>
                <c:pt idx="73">
                  <c:v>15.11.21</c:v>
                </c:pt>
                <c:pt idx="74">
                  <c:v>16.11.21</c:v>
                </c:pt>
                <c:pt idx="75">
                  <c:v>17.11.21</c:v>
                </c:pt>
                <c:pt idx="76">
                  <c:v>18.11.21</c:v>
                </c:pt>
                <c:pt idx="77">
                  <c:v>19.11.21</c:v>
                </c:pt>
                <c:pt idx="78">
                  <c:v>20.11.21</c:v>
                </c:pt>
                <c:pt idx="79">
                  <c:v>21.11.21</c:v>
                </c:pt>
                <c:pt idx="80">
                  <c:v>22.11.21</c:v>
                </c:pt>
                <c:pt idx="81">
                  <c:v>23.11.21</c:v>
                </c:pt>
                <c:pt idx="82">
                  <c:v>24.11.21</c:v>
                </c:pt>
                <c:pt idx="83">
                  <c:v>25.11.21</c:v>
                </c:pt>
                <c:pt idx="84">
                  <c:v>26.11.21</c:v>
                </c:pt>
                <c:pt idx="85">
                  <c:v>27.11.21</c:v>
                </c:pt>
                <c:pt idx="86">
                  <c:v>28.11.21</c:v>
                </c:pt>
                <c:pt idx="87">
                  <c:v>29.11.21</c:v>
                </c:pt>
                <c:pt idx="88">
                  <c:v>30.11.21</c:v>
                </c:pt>
                <c:pt idx="89">
                  <c:v>01.12.21</c:v>
                </c:pt>
                <c:pt idx="90">
                  <c:v>02.12.21</c:v>
                </c:pt>
                <c:pt idx="91">
                  <c:v>03.12.21</c:v>
                </c:pt>
                <c:pt idx="92">
                  <c:v>04.12.21</c:v>
                </c:pt>
                <c:pt idx="93">
                  <c:v>05.12.21</c:v>
                </c:pt>
                <c:pt idx="94">
                  <c:v>06.12.21</c:v>
                </c:pt>
                <c:pt idx="95">
                  <c:v>07.12.21</c:v>
                </c:pt>
                <c:pt idx="96">
                  <c:v>08.12.21</c:v>
                </c:pt>
                <c:pt idx="97">
                  <c:v>09.12.21</c:v>
                </c:pt>
                <c:pt idx="98">
                  <c:v>10.12.21</c:v>
                </c:pt>
                <c:pt idx="99">
                  <c:v>11.12.21</c:v>
                </c:pt>
                <c:pt idx="100">
                  <c:v>12.12.21</c:v>
                </c:pt>
                <c:pt idx="101">
                  <c:v>13.12.21</c:v>
                </c:pt>
                <c:pt idx="102">
                  <c:v>14.12.21</c:v>
                </c:pt>
                <c:pt idx="103">
                  <c:v>15.12.21</c:v>
                </c:pt>
                <c:pt idx="104">
                  <c:v>16.12.21</c:v>
                </c:pt>
                <c:pt idx="105">
                  <c:v>17.12.21</c:v>
                </c:pt>
                <c:pt idx="106">
                  <c:v>18.12.21</c:v>
                </c:pt>
                <c:pt idx="107">
                  <c:v>19.12.21</c:v>
                </c:pt>
                <c:pt idx="108">
                  <c:v>20.12.21</c:v>
                </c:pt>
                <c:pt idx="109">
                  <c:v>21.12.21</c:v>
                </c:pt>
                <c:pt idx="110">
                  <c:v>22.12.21</c:v>
                </c:pt>
                <c:pt idx="111">
                  <c:v>23.12.21</c:v>
                </c:pt>
                <c:pt idx="112">
                  <c:v>24.12.21</c:v>
                </c:pt>
                <c:pt idx="113">
                  <c:v>25.12.21</c:v>
                </c:pt>
                <c:pt idx="114">
                  <c:v>26.12.21</c:v>
                </c:pt>
                <c:pt idx="115">
                  <c:v>27.12.21</c:v>
                </c:pt>
                <c:pt idx="116">
                  <c:v>28.12.21</c:v>
                </c:pt>
                <c:pt idx="117">
                  <c:v>29.12.21</c:v>
                </c:pt>
                <c:pt idx="118">
                  <c:v>30.12.21</c:v>
                </c:pt>
                <c:pt idx="119">
                  <c:v>31.12.21</c:v>
                </c:pt>
                <c:pt idx="120">
                  <c:v>01.01.22</c:v>
                </c:pt>
                <c:pt idx="121">
                  <c:v>02.01.22</c:v>
                </c:pt>
                <c:pt idx="122">
                  <c:v>03.01.22</c:v>
                </c:pt>
                <c:pt idx="123">
                  <c:v>04.01.22</c:v>
                </c:pt>
                <c:pt idx="124">
                  <c:v>05.01.22</c:v>
                </c:pt>
                <c:pt idx="125">
                  <c:v>06.01.22</c:v>
                </c:pt>
                <c:pt idx="126">
                  <c:v>07.01.22</c:v>
                </c:pt>
                <c:pt idx="127">
                  <c:v>08.01.22</c:v>
                </c:pt>
                <c:pt idx="128">
                  <c:v>09.01.22</c:v>
                </c:pt>
                <c:pt idx="129">
                  <c:v>10.01.22</c:v>
                </c:pt>
                <c:pt idx="130">
                  <c:v>11.01.22</c:v>
                </c:pt>
                <c:pt idx="131">
                  <c:v>12.01.22</c:v>
                </c:pt>
                <c:pt idx="132">
                  <c:v>13.01.22</c:v>
                </c:pt>
                <c:pt idx="133">
                  <c:v>14.01.22</c:v>
                </c:pt>
                <c:pt idx="134">
                  <c:v>15.01.22</c:v>
                </c:pt>
                <c:pt idx="135">
                  <c:v>16.01.22</c:v>
                </c:pt>
                <c:pt idx="136">
                  <c:v>17.01.22</c:v>
                </c:pt>
                <c:pt idx="137">
                  <c:v>18.01.22</c:v>
                </c:pt>
                <c:pt idx="138">
                  <c:v>19.01.22</c:v>
                </c:pt>
                <c:pt idx="139">
                  <c:v>20.01.22</c:v>
                </c:pt>
                <c:pt idx="140">
                  <c:v>21.01.22</c:v>
                </c:pt>
                <c:pt idx="141">
                  <c:v>22.01.22</c:v>
                </c:pt>
                <c:pt idx="142">
                  <c:v>23.01.22</c:v>
                </c:pt>
                <c:pt idx="143">
                  <c:v>24.01.22</c:v>
                </c:pt>
                <c:pt idx="144">
                  <c:v>25.01.22</c:v>
                </c:pt>
                <c:pt idx="145">
                  <c:v>26.01.22</c:v>
                </c:pt>
                <c:pt idx="146">
                  <c:v>27.01.22</c:v>
                </c:pt>
                <c:pt idx="147">
                  <c:v>28.01.22</c:v>
                </c:pt>
                <c:pt idx="148">
                  <c:v>29.01.22</c:v>
                </c:pt>
                <c:pt idx="149">
                  <c:v>30.01.22</c:v>
                </c:pt>
                <c:pt idx="150">
                  <c:v>31.01.22</c:v>
                </c:pt>
                <c:pt idx="151">
                  <c:v>01.02.22</c:v>
                </c:pt>
                <c:pt idx="152">
                  <c:v>02.02.22</c:v>
                </c:pt>
                <c:pt idx="153">
                  <c:v>03.02.22</c:v>
                </c:pt>
                <c:pt idx="154">
                  <c:v>04.02.22</c:v>
                </c:pt>
                <c:pt idx="155">
                  <c:v>05.02.22</c:v>
                </c:pt>
                <c:pt idx="156">
                  <c:v>06.02.22</c:v>
                </c:pt>
                <c:pt idx="157">
                  <c:v>07.02.22</c:v>
                </c:pt>
                <c:pt idx="158">
                  <c:v>08.02.22</c:v>
                </c:pt>
                <c:pt idx="159">
                  <c:v>09.02.22</c:v>
                </c:pt>
                <c:pt idx="160">
                  <c:v>10.02.22</c:v>
                </c:pt>
                <c:pt idx="161">
                  <c:v>11.02.22</c:v>
                </c:pt>
                <c:pt idx="162">
                  <c:v>12.02.22</c:v>
                </c:pt>
                <c:pt idx="163">
                  <c:v>13.02.22</c:v>
                </c:pt>
                <c:pt idx="164">
                  <c:v>14.02.22</c:v>
                </c:pt>
                <c:pt idx="165">
                  <c:v>15.02.22</c:v>
                </c:pt>
                <c:pt idx="166">
                  <c:v>16.02.22</c:v>
                </c:pt>
                <c:pt idx="167">
                  <c:v>17.02.22</c:v>
                </c:pt>
                <c:pt idx="168">
                  <c:v>18.02.22</c:v>
                </c:pt>
                <c:pt idx="169">
                  <c:v>19.02.22</c:v>
                </c:pt>
                <c:pt idx="170">
                  <c:v>20.02.22</c:v>
                </c:pt>
                <c:pt idx="171">
                  <c:v>21.02.22</c:v>
                </c:pt>
                <c:pt idx="172">
                  <c:v>22.02.22</c:v>
                </c:pt>
                <c:pt idx="173">
                  <c:v>23.02.22</c:v>
                </c:pt>
                <c:pt idx="174">
                  <c:v>24.02.22</c:v>
                </c:pt>
                <c:pt idx="175">
                  <c:v>25.02.22</c:v>
                </c:pt>
                <c:pt idx="176">
                  <c:v>26.02.22</c:v>
                </c:pt>
                <c:pt idx="177">
                  <c:v>27.02.22</c:v>
                </c:pt>
                <c:pt idx="178">
                  <c:v>28.02.22</c:v>
                </c:pt>
                <c:pt idx="179">
                  <c:v>01.03.22</c:v>
                </c:pt>
                <c:pt idx="180">
                  <c:v>02.03.22</c:v>
                </c:pt>
                <c:pt idx="181">
                  <c:v>03.03.22</c:v>
                </c:pt>
                <c:pt idx="182">
                  <c:v>04.03.22</c:v>
                </c:pt>
              </c:strCache>
            </c:strRef>
          </c:cat>
          <c:val>
            <c:numRef>
              <c:f>List1!$B$3:$GB$3</c:f>
              <c:numCache>
                <c:formatCode>General</c:formatCode>
                <c:ptCount val="183"/>
                <c:pt idx="0">
                  <c:v>6</c:v>
                </c:pt>
                <c:pt idx="1">
                  <c:v>1</c:v>
                </c:pt>
                <c:pt idx="2">
                  <c:v>0</c:v>
                </c:pt>
                <c:pt idx="3">
                  <c:v>2</c:v>
                </c:pt>
                <c:pt idx="4">
                  <c:v>6</c:v>
                </c:pt>
                <c:pt idx="5">
                  <c:v>1</c:v>
                </c:pt>
                <c:pt idx="6">
                  <c:v>4</c:v>
                </c:pt>
                <c:pt idx="7">
                  <c:v>0</c:v>
                </c:pt>
                <c:pt idx="8">
                  <c:v>1</c:v>
                </c:pt>
                <c:pt idx="9">
                  <c:v>2</c:v>
                </c:pt>
                <c:pt idx="10">
                  <c:v>3</c:v>
                </c:pt>
                <c:pt idx="11">
                  <c:v>4</c:v>
                </c:pt>
                <c:pt idx="12">
                  <c:v>3</c:v>
                </c:pt>
                <c:pt idx="13">
                  <c:v>7</c:v>
                </c:pt>
                <c:pt idx="14">
                  <c:v>4</c:v>
                </c:pt>
                <c:pt idx="15">
                  <c:v>2</c:v>
                </c:pt>
                <c:pt idx="16">
                  <c:v>2</c:v>
                </c:pt>
                <c:pt idx="17">
                  <c:v>9</c:v>
                </c:pt>
                <c:pt idx="18">
                  <c:v>7</c:v>
                </c:pt>
                <c:pt idx="19">
                  <c:v>5</c:v>
                </c:pt>
                <c:pt idx="20">
                  <c:v>5</c:v>
                </c:pt>
                <c:pt idx="21">
                  <c:v>7</c:v>
                </c:pt>
                <c:pt idx="22">
                  <c:v>6</c:v>
                </c:pt>
                <c:pt idx="23">
                  <c:v>6</c:v>
                </c:pt>
                <c:pt idx="24">
                  <c:v>5</c:v>
                </c:pt>
                <c:pt idx="25">
                  <c:v>7</c:v>
                </c:pt>
                <c:pt idx="26">
                  <c:v>12</c:v>
                </c:pt>
                <c:pt idx="27">
                  <c:v>15</c:v>
                </c:pt>
                <c:pt idx="28">
                  <c:v>7</c:v>
                </c:pt>
                <c:pt idx="29">
                  <c:v>5</c:v>
                </c:pt>
                <c:pt idx="30">
                  <c:v>8</c:v>
                </c:pt>
                <c:pt idx="31">
                  <c:v>10</c:v>
                </c:pt>
                <c:pt idx="32">
                  <c:v>13</c:v>
                </c:pt>
                <c:pt idx="33">
                  <c:v>8</c:v>
                </c:pt>
                <c:pt idx="34">
                  <c:v>8</c:v>
                </c:pt>
                <c:pt idx="35">
                  <c:v>9</c:v>
                </c:pt>
                <c:pt idx="36">
                  <c:v>5</c:v>
                </c:pt>
                <c:pt idx="37">
                  <c:v>4</c:v>
                </c:pt>
                <c:pt idx="38">
                  <c:v>17</c:v>
                </c:pt>
                <c:pt idx="39">
                  <c:v>17</c:v>
                </c:pt>
                <c:pt idx="40">
                  <c:v>20</c:v>
                </c:pt>
                <c:pt idx="41">
                  <c:v>19</c:v>
                </c:pt>
                <c:pt idx="42">
                  <c:v>17</c:v>
                </c:pt>
                <c:pt idx="43">
                  <c:v>10</c:v>
                </c:pt>
                <c:pt idx="44">
                  <c:v>10</c:v>
                </c:pt>
                <c:pt idx="45">
                  <c:v>32</c:v>
                </c:pt>
                <c:pt idx="46">
                  <c:v>24</c:v>
                </c:pt>
                <c:pt idx="47">
                  <c:v>25</c:v>
                </c:pt>
                <c:pt idx="48">
                  <c:v>49</c:v>
                </c:pt>
                <c:pt idx="49">
                  <c:v>38</c:v>
                </c:pt>
                <c:pt idx="50">
                  <c:v>31</c:v>
                </c:pt>
                <c:pt idx="51">
                  <c:v>12</c:v>
                </c:pt>
                <c:pt idx="52">
                  <c:v>58</c:v>
                </c:pt>
                <c:pt idx="53">
                  <c:v>63</c:v>
                </c:pt>
                <c:pt idx="54">
                  <c:v>69</c:v>
                </c:pt>
                <c:pt idx="55">
                  <c:v>30</c:v>
                </c:pt>
                <c:pt idx="56">
                  <c:v>77</c:v>
                </c:pt>
                <c:pt idx="57">
                  <c:v>55</c:v>
                </c:pt>
                <c:pt idx="58">
                  <c:v>37</c:v>
                </c:pt>
                <c:pt idx="59">
                  <c:v>103</c:v>
                </c:pt>
                <c:pt idx="60">
                  <c:v>99</c:v>
                </c:pt>
                <c:pt idx="61">
                  <c:v>106</c:v>
                </c:pt>
                <c:pt idx="62">
                  <c:v>96</c:v>
                </c:pt>
                <c:pt idx="63">
                  <c:v>104</c:v>
                </c:pt>
                <c:pt idx="64">
                  <c:v>79</c:v>
                </c:pt>
                <c:pt idx="65">
                  <c:v>24</c:v>
                </c:pt>
                <c:pt idx="66">
                  <c:v>121</c:v>
                </c:pt>
                <c:pt idx="67">
                  <c:v>132</c:v>
                </c:pt>
                <c:pt idx="68">
                  <c:v>164</c:v>
                </c:pt>
                <c:pt idx="69">
                  <c:v>92</c:v>
                </c:pt>
                <c:pt idx="70">
                  <c:v>151</c:v>
                </c:pt>
                <c:pt idx="71">
                  <c:v>87</c:v>
                </c:pt>
                <c:pt idx="72">
                  <c:v>52</c:v>
                </c:pt>
                <c:pt idx="73">
                  <c:v>145</c:v>
                </c:pt>
                <c:pt idx="74">
                  <c:v>213</c:v>
                </c:pt>
                <c:pt idx="75">
                  <c:v>107</c:v>
                </c:pt>
                <c:pt idx="76">
                  <c:v>154</c:v>
                </c:pt>
                <c:pt idx="77">
                  <c:v>210</c:v>
                </c:pt>
                <c:pt idx="78">
                  <c:v>146</c:v>
                </c:pt>
                <c:pt idx="79">
                  <c:v>78</c:v>
                </c:pt>
                <c:pt idx="80">
                  <c:v>177</c:v>
                </c:pt>
                <c:pt idx="81">
                  <c:v>236</c:v>
                </c:pt>
                <c:pt idx="82">
                  <c:v>126</c:v>
                </c:pt>
                <c:pt idx="83">
                  <c:v>199</c:v>
                </c:pt>
                <c:pt idx="84">
                  <c:v>173</c:v>
                </c:pt>
                <c:pt idx="85">
                  <c:v>99</c:v>
                </c:pt>
                <c:pt idx="86">
                  <c:v>74</c:v>
                </c:pt>
                <c:pt idx="87">
                  <c:v>192</c:v>
                </c:pt>
                <c:pt idx="88">
                  <c:v>151</c:v>
                </c:pt>
                <c:pt idx="89">
                  <c:v>157</c:v>
                </c:pt>
                <c:pt idx="90">
                  <c:v>138</c:v>
                </c:pt>
                <c:pt idx="91">
                  <c:v>126</c:v>
                </c:pt>
                <c:pt idx="92">
                  <c:v>77</c:v>
                </c:pt>
                <c:pt idx="93">
                  <c:v>61</c:v>
                </c:pt>
                <c:pt idx="94">
                  <c:v>151</c:v>
                </c:pt>
                <c:pt idx="95">
                  <c:v>143</c:v>
                </c:pt>
                <c:pt idx="96">
                  <c:v>107</c:v>
                </c:pt>
                <c:pt idx="97">
                  <c:v>116</c:v>
                </c:pt>
                <c:pt idx="98">
                  <c:v>104</c:v>
                </c:pt>
                <c:pt idx="99">
                  <c:v>69</c:v>
                </c:pt>
                <c:pt idx="100">
                  <c:v>50</c:v>
                </c:pt>
                <c:pt idx="101">
                  <c:v>95</c:v>
                </c:pt>
                <c:pt idx="102">
                  <c:v>112</c:v>
                </c:pt>
                <c:pt idx="103">
                  <c:v>78</c:v>
                </c:pt>
                <c:pt idx="104">
                  <c:v>61</c:v>
                </c:pt>
                <c:pt idx="105">
                  <c:v>71</c:v>
                </c:pt>
                <c:pt idx="106">
                  <c:v>44</c:v>
                </c:pt>
                <c:pt idx="107">
                  <c:v>30</c:v>
                </c:pt>
                <c:pt idx="108">
                  <c:v>82</c:v>
                </c:pt>
                <c:pt idx="109">
                  <c:v>74</c:v>
                </c:pt>
                <c:pt idx="110">
                  <c:v>50</c:v>
                </c:pt>
                <c:pt idx="111">
                  <c:v>54</c:v>
                </c:pt>
                <c:pt idx="112">
                  <c:v>17</c:v>
                </c:pt>
                <c:pt idx="113">
                  <c:v>18</c:v>
                </c:pt>
                <c:pt idx="114">
                  <c:v>17</c:v>
                </c:pt>
                <c:pt idx="115">
                  <c:v>71</c:v>
                </c:pt>
                <c:pt idx="116">
                  <c:v>86</c:v>
                </c:pt>
                <c:pt idx="117">
                  <c:v>50</c:v>
                </c:pt>
                <c:pt idx="118">
                  <c:v>45</c:v>
                </c:pt>
                <c:pt idx="119">
                  <c:v>44</c:v>
                </c:pt>
                <c:pt idx="120">
                  <c:v>10</c:v>
                </c:pt>
                <c:pt idx="121">
                  <c:v>32</c:v>
                </c:pt>
                <c:pt idx="122">
                  <c:v>82</c:v>
                </c:pt>
                <c:pt idx="123">
                  <c:v>67</c:v>
                </c:pt>
                <c:pt idx="124">
                  <c:v>44</c:v>
                </c:pt>
                <c:pt idx="125">
                  <c:v>49</c:v>
                </c:pt>
                <c:pt idx="126">
                  <c:v>55</c:v>
                </c:pt>
                <c:pt idx="127">
                  <c:v>32</c:v>
                </c:pt>
                <c:pt idx="128">
                  <c:v>22</c:v>
                </c:pt>
                <c:pt idx="129">
                  <c:v>59</c:v>
                </c:pt>
                <c:pt idx="130">
                  <c:v>89</c:v>
                </c:pt>
                <c:pt idx="131">
                  <c:v>79</c:v>
                </c:pt>
                <c:pt idx="132">
                  <c:v>77</c:v>
                </c:pt>
                <c:pt idx="133">
                  <c:v>77</c:v>
                </c:pt>
                <c:pt idx="134">
                  <c:v>73</c:v>
                </c:pt>
                <c:pt idx="135">
                  <c:v>43</c:v>
                </c:pt>
                <c:pt idx="136">
                  <c:v>179</c:v>
                </c:pt>
                <c:pt idx="137">
                  <c:v>196</c:v>
                </c:pt>
                <c:pt idx="138">
                  <c:v>186</c:v>
                </c:pt>
                <c:pt idx="139">
                  <c:v>202</c:v>
                </c:pt>
                <c:pt idx="140">
                  <c:v>248</c:v>
                </c:pt>
                <c:pt idx="141">
                  <c:v>131</c:v>
                </c:pt>
                <c:pt idx="142">
                  <c:v>110</c:v>
                </c:pt>
                <c:pt idx="143">
                  <c:v>324</c:v>
                </c:pt>
                <c:pt idx="144">
                  <c:v>325</c:v>
                </c:pt>
                <c:pt idx="145">
                  <c:v>408</c:v>
                </c:pt>
                <c:pt idx="146">
                  <c:v>339</c:v>
                </c:pt>
                <c:pt idx="147">
                  <c:v>423</c:v>
                </c:pt>
                <c:pt idx="148">
                  <c:v>148</c:v>
                </c:pt>
                <c:pt idx="149">
                  <c:v>212</c:v>
                </c:pt>
                <c:pt idx="150">
                  <c:v>457</c:v>
                </c:pt>
                <c:pt idx="151">
                  <c:v>488</c:v>
                </c:pt>
                <c:pt idx="152">
                  <c:v>392</c:v>
                </c:pt>
                <c:pt idx="153">
                  <c:v>358</c:v>
                </c:pt>
                <c:pt idx="154">
                  <c:v>283</c:v>
                </c:pt>
                <c:pt idx="155">
                  <c:v>232</c:v>
                </c:pt>
                <c:pt idx="156">
                  <c:v>123</c:v>
                </c:pt>
                <c:pt idx="157">
                  <c:v>417</c:v>
                </c:pt>
                <c:pt idx="158">
                  <c:v>382</c:v>
                </c:pt>
                <c:pt idx="159">
                  <c:v>301</c:v>
                </c:pt>
                <c:pt idx="160">
                  <c:v>262</c:v>
                </c:pt>
                <c:pt idx="161">
                  <c:v>233</c:v>
                </c:pt>
                <c:pt idx="162">
                  <c:v>141</c:v>
                </c:pt>
                <c:pt idx="163">
                  <c:v>107</c:v>
                </c:pt>
                <c:pt idx="164">
                  <c:v>280</c:v>
                </c:pt>
                <c:pt idx="165">
                  <c:v>295</c:v>
                </c:pt>
                <c:pt idx="166">
                  <c:v>226</c:v>
                </c:pt>
                <c:pt idx="167">
                  <c:v>195</c:v>
                </c:pt>
                <c:pt idx="168">
                  <c:v>177</c:v>
                </c:pt>
                <c:pt idx="169">
                  <c:v>87</c:v>
                </c:pt>
                <c:pt idx="170">
                  <c:v>64</c:v>
                </c:pt>
                <c:pt idx="171">
                  <c:v>216</c:v>
                </c:pt>
                <c:pt idx="172">
                  <c:v>159</c:v>
                </c:pt>
                <c:pt idx="173">
                  <c:v>111</c:v>
                </c:pt>
                <c:pt idx="174">
                  <c:v>118</c:v>
                </c:pt>
                <c:pt idx="175">
                  <c:v>112</c:v>
                </c:pt>
                <c:pt idx="176">
                  <c:v>68</c:v>
                </c:pt>
                <c:pt idx="177">
                  <c:v>55</c:v>
                </c:pt>
                <c:pt idx="178">
                  <c:v>149</c:v>
                </c:pt>
                <c:pt idx="179">
                  <c:v>147</c:v>
                </c:pt>
                <c:pt idx="180">
                  <c:v>116</c:v>
                </c:pt>
                <c:pt idx="181">
                  <c:v>102</c:v>
                </c:pt>
                <c:pt idx="182">
                  <c:v>11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E8FD-43E4-BA1D-0B494D841FF9}"/>
            </c:ext>
          </c:extLst>
        </c:ser>
        <c:ser>
          <c:idx val="2"/>
          <c:order val="2"/>
          <c:tx>
            <c:strRef>
              <c:f>List1!$A$4</c:f>
              <c:strCache>
                <c:ptCount val="1"/>
                <c:pt idx="0">
                  <c:v>Ostatní zdravotničtí pracovníci</c:v>
                </c:pt>
              </c:strCache>
            </c:strRef>
          </c:tx>
          <c:spPr>
            <a:ln w="6350" cap="rnd">
              <a:solidFill>
                <a:schemeClr val="bg1">
                  <a:lumMod val="65000"/>
                </a:schemeClr>
              </a:solidFill>
              <a:prstDash val="solid"/>
              <a:round/>
            </a:ln>
            <a:effectLst/>
          </c:spPr>
          <c:marker>
            <c:symbol val="none"/>
          </c:marker>
          <c:dLbls>
            <c:dLbl>
              <c:idx val="182"/>
              <c:layout>
                <c:manualLayout>
                  <c:x val="-1.3019527064393282E-16"/>
                  <c:y val="-1.8650134782764349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0"/>
                <a:lstStyle/>
                <a:p>
                  <a:pPr algn="l">
                    <a:defRPr sz="1200" b="1" i="0" u="none" strike="noStrike" kern="1200" baseline="0">
                      <a:solidFill>
                        <a:schemeClr val="bg1">
                          <a:lumMod val="50000"/>
                        </a:schemeClr>
                      </a:solidFill>
                      <a:latin typeface="Calibri" panose="020F0502020204030204" pitchFamily="34" charset="0"/>
                      <a:ea typeface="+mn-ea"/>
                      <a:cs typeface="Calibri" panose="020F0502020204030204" pitchFamily="34" charset="0"/>
                    </a:defRPr>
                  </a:pPr>
                  <a:endParaRPr lang="cs-CZ"/>
                </a:p>
              </c:txPr>
              <c:dLblPos val="r"/>
              <c:showLegendKey val="0"/>
              <c:showVal val="1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4601304996662368"/>
                      <c:h val="7.5300289757703073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6-CC25-463F-AAD4-4AD72ABB9622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bg1">
                        <a:lumMod val="50000"/>
                      </a:schemeClr>
                    </a:solidFill>
                    <a:latin typeface="Calibri" panose="020F0502020204030204" pitchFamily="34" charset="0"/>
                    <a:ea typeface="+mn-ea"/>
                    <a:cs typeface="Calibri" panose="020F0502020204030204" pitchFamily="34" charset="0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trendline>
            <c:spPr>
              <a:ln w="25400" cap="rnd">
                <a:solidFill>
                  <a:srgbClr val="A6A6A6"/>
                </a:solidFill>
                <a:prstDash val="solid"/>
              </a:ln>
              <a:effectLst/>
            </c:spPr>
            <c:trendlineType val="movingAvg"/>
            <c:period val="7"/>
            <c:dispRSqr val="0"/>
            <c:dispEq val="0"/>
          </c:trendline>
          <c:cat>
            <c:strRef>
              <c:f>List1!$B$1:$GB$1</c:f>
              <c:strCache>
                <c:ptCount val="183"/>
                <c:pt idx="0">
                  <c:v>03.09.21</c:v>
                </c:pt>
                <c:pt idx="1">
                  <c:v>04.09.21</c:v>
                </c:pt>
                <c:pt idx="2">
                  <c:v>05.09.21</c:v>
                </c:pt>
                <c:pt idx="3">
                  <c:v>06.09.21</c:v>
                </c:pt>
                <c:pt idx="4">
                  <c:v>07.09.21</c:v>
                </c:pt>
                <c:pt idx="5">
                  <c:v>08.09.21</c:v>
                </c:pt>
                <c:pt idx="6">
                  <c:v>09.09.21</c:v>
                </c:pt>
                <c:pt idx="7">
                  <c:v>10.09.21</c:v>
                </c:pt>
                <c:pt idx="8">
                  <c:v>11.09.21</c:v>
                </c:pt>
                <c:pt idx="9">
                  <c:v>12.09.21</c:v>
                </c:pt>
                <c:pt idx="10">
                  <c:v>13.09.21</c:v>
                </c:pt>
                <c:pt idx="11">
                  <c:v>14.09.21</c:v>
                </c:pt>
                <c:pt idx="12">
                  <c:v>15.09.21</c:v>
                </c:pt>
                <c:pt idx="13">
                  <c:v>16.09.21</c:v>
                </c:pt>
                <c:pt idx="14">
                  <c:v>17.09.21</c:v>
                </c:pt>
                <c:pt idx="15">
                  <c:v>18.09.21</c:v>
                </c:pt>
                <c:pt idx="16">
                  <c:v>19.09.21</c:v>
                </c:pt>
                <c:pt idx="17">
                  <c:v>20.09.21</c:v>
                </c:pt>
                <c:pt idx="18">
                  <c:v>21.09.21</c:v>
                </c:pt>
                <c:pt idx="19">
                  <c:v>22.09.21</c:v>
                </c:pt>
                <c:pt idx="20">
                  <c:v>23.09.21</c:v>
                </c:pt>
                <c:pt idx="21">
                  <c:v>24.09.21</c:v>
                </c:pt>
                <c:pt idx="22">
                  <c:v>25.09.21</c:v>
                </c:pt>
                <c:pt idx="23">
                  <c:v>26.09.21</c:v>
                </c:pt>
                <c:pt idx="24">
                  <c:v>27.09.21</c:v>
                </c:pt>
                <c:pt idx="25">
                  <c:v>28.09.21</c:v>
                </c:pt>
                <c:pt idx="26">
                  <c:v>29.09.21</c:v>
                </c:pt>
                <c:pt idx="27">
                  <c:v>30.09.21</c:v>
                </c:pt>
                <c:pt idx="28">
                  <c:v>01.10.21</c:v>
                </c:pt>
                <c:pt idx="29">
                  <c:v>02.10.21</c:v>
                </c:pt>
                <c:pt idx="30">
                  <c:v>03.10.21</c:v>
                </c:pt>
                <c:pt idx="31">
                  <c:v>04.10.21</c:v>
                </c:pt>
                <c:pt idx="32">
                  <c:v>05.10.21</c:v>
                </c:pt>
                <c:pt idx="33">
                  <c:v>06.10.21</c:v>
                </c:pt>
                <c:pt idx="34">
                  <c:v>07.10.21</c:v>
                </c:pt>
                <c:pt idx="35">
                  <c:v>08.10.21</c:v>
                </c:pt>
                <c:pt idx="36">
                  <c:v>09.10.21</c:v>
                </c:pt>
                <c:pt idx="37">
                  <c:v>10.10.21</c:v>
                </c:pt>
                <c:pt idx="38">
                  <c:v>11.10.21</c:v>
                </c:pt>
                <c:pt idx="39">
                  <c:v>12.10.21</c:v>
                </c:pt>
                <c:pt idx="40">
                  <c:v>13.10.21</c:v>
                </c:pt>
                <c:pt idx="41">
                  <c:v>14.10.21</c:v>
                </c:pt>
                <c:pt idx="42">
                  <c:v>15.10.21</c:v>
                </c:pt>
                <c:pt idx="43">
                  <c:v>16.10.21</c:v>
                </c:pt>
                <c:pt idx="44">
                  <c:v>17.10.21</c:v>
                </c:pt>
                <c:pt idx="45">
                  <c:v>18.10.21</c:v>
                </c:pt>
                <c:pt idx="46">
                  <c:v>19.10.21</c:v>
                </c:pt>
                <c:pt idx="47">
                  <c:v>20.10.21</c:v>
                </c:pt>
                <c:pt idx="48">
                  <c:v>21.10.21</c:v>
                </c:pt>
                <c:pt idx="49">
                  <c:v>22.10.21</c:v>
                </c:pt>
                <c:pt idx="50">
                  <c:v>23.10.21</c:v>
                </c:pt>
                <c:pt idx="51">
                  <c:v>24.10.21</c:v>
                </c:pt>
                <c:pt idx="52">
                  <c:v>25.10.21</c:v>
                </c:pt>
                <c:pt idx="53">
                  <c:v>26.10.21</c:v>
                </c:pt>
                <c:pt idx="54">
                  <c:v>27.10.21</c:v>
                </c:pt>
                <c:pt idx="55">
                  <c:v>28.10.21</c:v>
                </c:pt>
                <c:pt idx="56">
                  <c:v>29.10.21</c:v>
                </c:pt>
                <c:pt idx="57">
                  <c:v>30.10.21</c:v>
                </c:pt>
                <c:pt idx="58">
                  <c:v>31.10.21</c:v>
                </c:pt>
                <c:pt idx="59">
                  <c:v>01.11.21</c:v>
                </c:pt>
                <c:pt idx="60">
                  <c:v>02.11.21</c:v>
                </c:pt>
                <c:pt idx="61">
                  <c:v>03.11.21</c:v>
                </c:pt>
                <c:pt idx="62">
                  <c:v>04.11.21</c:v>
                </c:pt>
                <c:pt idx="63">
                  <c:v>05.11.21</c:v>
                </c:pt>
                <c:pt idx="64">
                  <c:v>06.11.21</c:v>
                </c:pt>
                <c:pt idx="65">
                  <c:v>07.11.21</c:v>
                </c:pt>
                <c:pt idx="66">
                  <c:v>08.11.21</c:v>
                </c:pt>
                <c:pt idx="67">
                  <c:v>09.11.21</c:v>
                </c:pt>
                <c:pt idx="68">
                  <c:v>10.11.21</c:v>
                </c:pt>
                <c:pt idx="69">
                  <c:v>11.11.21</c:v>
                </c:pt>
                <c:pt idx="70">
                  <c:v>12.11.21</c:v>
                </c:pt>
                <c:pt idx="71">
                  <c:v>13.11.21</c:v>
                </c:pt>
                <c:pt idx="72">
                  <c:v>14.11.21</c:v>
                </c:pt>
                <c:pt idx="73">
                  <c:v>15.11.21</c:v>
                </c:pt>
                <c:pt idx="74">
                  <c:v>16.11.21</c:v>
                </c:pt>
                <c:pt idx="75">
                  <c:v>17.11.21</c:v>
                </c:pt>
                <c:pt idx="76">
                  <c:v>18.11.21</c:v>
                </c:pt>
                <c:pt idx="77">
                  <c:v>19.11.21</c:v>
                </c:pt>
                <c:pt idx="78">
                  <c:v>20.11.21</c:v>
                </c:pt>
                <c:pt idx="79">
                  <c:v>21.11.21</c:v>
                </c:pt>
                <c:pt idx="80">
                  <c:v>22.11.21</c:v>
                </c:pt>
                <c:pt idx="81">
                  <c:v>23.11.21</c:v>
                </c:pt>
                <c:pt idx="82">
                  <c:v>24.11.21</c:v>
                </c:pt>
                <c:pt idx="83">
                  <c:v>25.11.21</c:v>
                </c:pt>
                <c:pt idx="84">
                  <c:v>26.11.21</c:v>
                </c:pt>
                <c:pt idx="85">
                  <c:v>27.11.21</c:v>
                </c:pt>
                <c:pt idx="86">
                  <c:v>28.11.21</c:v>
                </c:pt>
                <c:pt idx="87">
                  <c:v>29.11.21</c:v>
                </c:pt>
                <c:pt idx="88">
                  <c:v>30.11.21</c:v>
                </c:pt>
                <c:pt idx="89">
                  <c:v>01.12.21</c:v>
                </c:pt>
                <c:pt idx="90">
                  <c:v>02.12.21</c:v>
                </c:pt>
                <c:pt idx="91">
                  <c:v>03.12.21</c:v>
                </c:pt>
                <c:pt idx="92">
                  <c:v>04.12.21</c:v>
                </c:pt>
                <c:pt idx="93">
                  <c:v>05.12.21</c:v>
                </c:pt>
                <c:pt idx="94">
                  <c:v>06.12.21</c:v>
                </c:pt>
                <c:pt idx="95">
                  <c:v>07.12.21</c:v>
                </c:pt>
                <c:pt idx="96">
                  <c:v>08.12.21</c:v>
                </c:pt>
                <c:pt idx="97">
                  <c:v>09.12.21</c:v>
                </c:pt>
                <c:pt idx="98">
                  <c:v>10.12.21</c:v>
                </c:pt>
                <c:pt idx="99">
                  <c:v>11.12.21</c:v>
                </c:pt>
                <c:pt idx="100">
                  <c:v>12.12.21</c:v>
                </c:pt>
                <c:pt idx="101">
                  <c:v>13.12.21</c:v>
                </c:pt>
                <c:pt idx="102">
                  <c:v>14.12.21</c:v>
                </c:pt>
                <c:pt idx="103">
                  <c:v>15.12.21</c:v>
                </c:pt>
                <c:pt idx="104">
                  <c:v>16.12.21</c:v>
                </c:pt>
                <c:pt idx="105">
                  <c:v>17.12.21</c:v>
                </c:pt>
                <c:pt idx="106">
                  <c:v>18.12.21</c:v>
                </c:pt>
                <c:pt idx="107">
                  <c:v>19.12.21</c:v>
                </c:pt>
                <c:pt idx="108">
                  <c:v>20.12.21</c:v>
                </c:pt>
                <c:pt idx="109">
                  <c:v>21.12.21</c:v>
                </c:pt>
                <c:pt idx="110">
                  <c:v>22.12.21</c:v>
                </c:pt>
                <c:pt idx="111">
                  <c:v>23.12.21</c:v>
                </c:pt>
                <c:pt idx="112">
                  <c:v>24.12.21</c:v>
                </c:pt>
                <c:pt idx="113">
                  <c:v>25.12.21</c:v>
                </c:pt>
                <c:pt idx="114">
                  <c:v>26.12.21</c:v>
                </c:pt>
                <c:pt idx="115">
                  <c:v>27.12.21</c:v>
                </c:pt>
                <c:pt idx="116">
                  <c:v>28.12.21</c:v>
                </c:pt>
                <c:pt idx="117">
                  <c:v>29.12.21</c:v>
                </c:pt>
                <c:pt idx="118">
                  <c:v>30.12.21</c:v>
                </c:pt>
                <c:pt idx="119">
                  <c:v>31.12.21</c:v>
                </c:pt>
                <c:pt idx="120">
                  <c:v>01.01.22</c:v>
                </c:pt>
                <c:pt idx="121">
                  <c:v>02.01.22</c:v>
                </c:pt>
                <c:pt idx="122">
                  <c:v>03.01.22</c:v>
                </c:pt>
                <c:pt idx="123">
                  <c:v>04.01.22</c:v>
                </c:pt>
                <c:pt idx="124">
                  <c:v>05.01.22</c:v>
                </c:pt>
                <c:pt idx="125">
                  <c:v>06.01.22</c:v>
                </c:pt>
                <c:pt idx="126">
                  <c:v>07.01.22</c:v>
                </c:pt>
                <c:pt idx="127">
                  <c:v>08.01.22</c:v>
                </c:pt>
                <c:pt idx="128">
                  <c:v>09.01.22</c:v>
                </c:pt>
                <c:pt idx="129">
                  <c:v>10.01.22</c:v>
                </c:pt>
                <c:pt idx="130">
                  <c:v>11.01.22</c:v>
                </c:pt>
                <c:pt idx="131">
                  <c:v>12.01.22</c:v>
                </c:pt>
                <c:pt idx="132">
                  <c:v>13.01.22</c:v>
                </c:pt>
                <c:pt idx="133">
                  <c:v>14.01.22</c:v>
                </c:pt>
                <c:pt idx="134">
                  <c:v>15.01.22</c:v>
                </c:pt>
                <c:pt idx="135">
                  <c:v>16.01.22</c:v>
                </c:pt>
                <c:pt idx="136">
                  <c:v>17.01.22</c:v>
                </c:pt>
                <c:pt idx="137">
                  <c:v>18.01.22</c:v>
                </c:pt>
                <c:pt idx="138">
                  <c:v>19.01.22</c:v>
                </c:pt>
                <c:pt idx="139">
                  <c:v>20.01.22</c:v>
                </c:pt>
                <c:pt idx="140">
                  <c:v>21.01.22</c:v>
                </c:pt>
                <c:pt idx="141">
                  <c:v>22.01.22</c:v>
                </c:pt>
                <c:pt idx="142">
                  <c:v>23.01.22</c:v>
                </c:pt>
                <c:pt idx="143">
                  <c:v>24.01.22</c:v>
                </c:pt>
                <c:pt idx="144">
                  <c:v>25.01.22</c:v>
                </c:pt>
                <c:pt idx="145">
                  <c:v>26.01.22</c:v>
                </c:pt>
                <c:pt idx="146">
                  <c:v>27.01.22</c:v>
                </c:pt>
                <c:pt idx="147">
                  <c:v>28.01.22</c:v>
                </c:pt>
                <c:pt idx="148">
                  <c:v>29.01.22</c:v>
                </c:pt>
                <c:pt idx="149">
                  <c:v>30.01.22</c:v>
                </c:pt>
                <c:pt idx="150">
                  <c:v>31.01.22</c:v>
                </c:pt>
                <c:pt idx="151">
                  <c:v>01.02.22</c:v>
                </c:pt>
                <c:pt idx="152">
                  <c:v>02.02.22</c:v>
                </c:pt>
                <c:pt idx="153">
                  <c:v>03.02.22</c:v>
                </c:pt>
                <c:pt idx="154">
                  <c:v>04.02.22</c:v>
                </c:pt>
                <c:pt idx="155">
                  <c:v>05.02.22</c:v>
                </c:pt>
                <c:pt idx="156">
                  <c:v>06.02.22</c:v>
                </c:pt>
                <c:pt idx="157">
                  <c:v>07.02.22</c:v>
                </c:pt>
                <c:pt idx="158">
                  <c:v>08.02.22</c:v>
                </c:pt>
                <c:pt idx="159">
                  <c:v>09.02.22</c:v>
                </c:pt>
                <c:pt idx="160">
                  <c:v>10.02.22</c:v>
                </c:pt>
                <c:pt idx="161">
                  <c:v>11.02.22</c:v>
                </c:pt>
                <c:pt idx="162">
                  <c:v>12.02.22</c:v>
                </c:pt>
                <c:pt idx="163">
                  <c:v>13.02.22</c:v>
                </c:pt>
                <c:pt idx="164">
                  <c:v>14.02.22</c:v>
                </c:pt>
                <c:pt idx="165">
                  <c:v>15.02.22</c:v>
                </c:pt>
                <c:pt idx="166">
                  <c:v>16.02.22</c:v>
                </c:pt>
                <c:pt idx="167">
                  <c:v>17.02.22</c:v>
                </c:pt>
                <c:pt idx="168">
                  <c:v>18.02.22</c:v>
                </c:pt>
                <c:pt idx="169">
                  <c:v>19.02.22</c:v>
                </c:pt>
                <c:pt idx="170">
                  <c:v>20.02.22</c:v>
                </c:pt>
                <c:pt idx="171">
                  <c:v>21.02.22</c:v>
                </c:pt>
                <c:pt idx="172">
                  <c:v>22.02.22</c:v>
                </c:pt>
                <c:pt idx="173">
                  <c:v>23.02.22</c:v>
                </c:pt>
                <c:pt idx="174">
                  <c:v>24.02.22</c:v>
                </c:pt>
                <c:pt idx="175">
                  <c:v>25.02.22</c:v>
                </c:pt>
                <c:pt idx="176">
                  <c:v>26.02.22</c:v>
                </c:pt>
                <c:pt idx="177">
                  <c:v>27.02.22</c:v>
                </c:pt>
                <c:pt idx="178">
                  <c:v>28.02.22</c:v>
                </c:pt>
                <c:pt idx="179">
                  <c:v>01.03.22</c:v>
                </c:pt>
                <c:pt idx="180">
                  <c:v>02.03.22</c:v>
                </c:pt>
                <c:pt idx="181">
                  <c:v>03.03.22</c:v>
                </c:pt>
                <c:pt idx="182">
                  <c:v>04.03.22</c:v>
                </c:pt>
              </c:strCache>
            </c:strRef>
          </c:cat>
          <c:val>
            <c:numRef>
              <c:f>List1!$B$4:$GB$4</c:f>
              <c:numCache>
                <c:formatCode>General</c:formatCode>
                <c:ptCount val="183"/>
                <c:pt idx="0">
                  <c:v>6</c:v>
                </c:pt>
                <c:pt idx="1">
                  <c:v>5</c:v>
                </c:pt>
                <c:pt idx="2">
                  <c:v>1</c:v>
                </c:pt>
                <c:pt idx="3">
                  <c:v>5</c:v>
                </c:pt>
                <c:pt idx="4">
                  <c:v>4</c:v>
                </c:pt>
                <c:pt idx="5">
                  <c:v>1</c:v>
                </c:pt>
                <c:pt idx="6">
                  <c:v>3</c:v>
                </c:pt>
                <c:pt idx="7">
                  <c:v>2</c:v>
                </c:pt>
                <c:pt idx="8">
                  <c:v>0</c:v>
                </c:pt>
                <c:pt idx="9">
                  <c:v>3</c:v>
                </c:pt>
                <c:pt idx="10">
                  <c:v>2</c:v>
                </c:pt>
                <c:pt idx="11">
                  <c:v>3</c:v>
                </c:pt>
                <c:pt idx="12">
                  <c:v>5</c:v>
                </c:pt>
                <c:pt idx="13">
                  <c:v>8</c:v>
                </c:pt>
                <c:pt idx="14">
                  <c:v>4</c:v>
                </c:pt>
                <c:pt idx="15">
                  <c:v>2</c:v>
                </c:pt>
                <c:pt idx="16">
                  <c:v>5</c:v>
                </c:pt>
                <c:pt idx="17">
                  <c:v>8</c:v>
                </c:pt>
                <c:pt idx="18">
                  <c:v>9</c:v>
                </c:pt>
                <c:pt idx="19">
                  <c:v>8</c:v>
                </c:pt>
                <c:pt idx="20">
                  <c:v>5</c:v>
                </c:pt>
                <c:pt idx="21">
                  <c:v>4</c:v>
                </c:pt>
                <c:pt idx="22">
                  <c:v>4</c:v>
                </c:pt>
                <c:pt idx="23">
                  <c:v>2</c:v>
                </c:pt>
                <c:pt idx="24">
                  <c:v>7</c:v>
                </c:pt>
                <c:pt idx="25">
                  <c:v>6</c:v>
                </c:pt>
                <c:pt idx="26">
                  <c:v>8</c:v>
                </c:pt>
                <c:pt idx="27">
                  <c:v>12</c:v>
                </c:pt>
                <c:pt idx="28">
                  <c:v>8</c:v>
                </c:pt>
                <c:pt idx="29">
                  <c:v>4</c:v>
                </c:pt>
                <c:pt idx="30">
                  <c:v>6</c:v>
                </c:pt>
                <c:pt idx="31">
                  <c:v>9</c:v>
                </c:pt>
                <c:pt idx="32">
                  <c:v>12</c:v>
                </c:pt>
                <c:pt idx="33">
                  <c:v>13</c:v>
                </c:pt>
                <c:pt idx="34">
                  <c:v>14</c:v>
                </c:pt>
                <c:pt idx="35">
                  <c:v>9</c:v>
                </c:pt>
                <c:pt idx="36">
                  <c:v>7</c:v>
                </c:pt>
                <c:pt idx="37">
                  <c:v>5</c:v>
                </c:pt>
                <c:pt idx="38">
                  <c:v>19</c:v>
                </c:pt>
                <c:pt idx="39">
                  <c:v>31</c:v>
                </c:pt>
                <c:pt idx="40">
                  <c:v>19</c:v>
                </c:pt>
                <c:pt idx="41">
                  <c:v>16</c:v>
                </c:pt>
                <c:pt idx="42">
                  <c:v>14</c:v>
                </c:pt>
                <c:pt idx="43">
                  <c:v>9</c:v>
                </c:pt>
                <c:pt idx="44">
                  <c:v>12</c:v>
                </c:pt>
                <c:pt idx="45">
                  <c:v>38</c:v>
                </c:pt>
                <c:pt idx="46">
                  <c:v>54</c:v>
                </c:pt>
                <c:pt idx="47">
                  <c:v>46</c:v>
                </c:pt>
                <c:pt idx="48">
                  <c:v>53</c:v>
                </c:pt>
                <c:pt idx="49">
                  <c:v>42</c:v>
                </c:pt>
                <c:pt idx="50">
                  <c:v>27</c:v>
                </c:pt>
                <c:pt idx="51">
                  <c:v>20</c:v>
                </c:pt>
                <c:pt idx="52">
                  <c:v>76</c:v>
                </c:pt>
                <c:pt idx="53">
                  <c:v>82</c:v>
                </c:pt>
                <c:pt idx="54">
                  <c:v>63</c:v>
                </c:pt>
                <c:pt idx="55">
                  <c:v>40</c:v>
                </c:pt>
                <c:pt idx="56">
                  <c:v>78</c:v>
                </c:pt>
                <c:pt idx="57">
                  <c:v>52</c:v>
                </c:pt>
                <c:pt idx="58">
                  <c:v>40</c:v>
                </c:pt>
                <c:pt idx="59">
                  <c:v>129</c:v>
                </c:pt>
                <c:pt idx="60">
                  <c:v>129</c:v>
                </c:pt>
                <c:pt idx="61">
                  <c:v>103</c:v>
                </c:pt>
                <c:pt idx="62">
                  <c:v>105</c:v>
                </c:pt>
                <c:pt idx="63">
                  <c:v>127</c:v>
                </c:pt>
                <c:pt idx="64">
                  <c:v>53</c:v>
                </c:pt>
                <c:pt idx="65">
                  <c:v>38</c:v>
                </c:pt>
                <c:pt idx="66">
                  <c:v>127</c:v>
                </c:pt>
                <c:pt idx="67">
                  <c:v>134</c:v>
                </c:pt>
                <c:pt idx="68">
                  <c:v>144</c:v>
                </c:pt>
                <c:pt idx="69">
                  <c:v>113</c:v>
                </c:pt>
                <c:pt idx="70">
                  <c:v>160</c:v>
                </c:pt>
                <c:pt idx="71">
                  <c:v>90</c:v>
                </c:pt>
                <c:pt idx="72">
                  <c:v>49</c:v>
                </c:pt>
                <c:pt idx="73">
                  <c:v>156</c:v>
                </c:pt>
                <c:pt idx="74">
                  <c:v>189</c:v>
                </c:pt>
                <c:pt idx="75">
                  <c:v>139</c:v>
                </c:pt>
                <c:pt idx="76">
                  <c:v>156</c:v>
                </c:pt>
                <c:pt idx="77">
                  <c:v>243</c:v>
                </c:pt>
                <c:pt idx="78">
                  <c:v>117</c:v>
                </c:pt>
                <c:pt idx="79">
                  <c:v>86</c:v>
                </c:pt>
                <c:pt idx="80">
                  <c:v>196</c:v>
                </c:pt>
                <c:pt idx="81">
                  <c:v>206</c:v>
                </c:pt>
                <c:pt idx="82">
                  <c:v>171</c:v>
                </c:pt>
                <c:pt idx="83">
                  <c:v>247</c:v>
                </c:pt>
                <c:pt idx="84">
                  <c:v>141</c:v>
                </c:pt>
                <c:pt idx="85">
                  <c:v>108</c:v>
                </c:pt>
                <c:pt idx="86">
                  <c:v>83</c:v>
                </c:pt>
                <c:pt idx="87">
                  <c:v>197</c:v>
                </c:pt>
                <c:pt idx="88">
                  <c:v>184</c:v>
                </c:pt>
                <c:pt idx="89">
                  <c:v>158</c:v>
                </c:pt>
                <c:pt idx="90">
                  <c:v>126</c:v>
                </c:pt>
                <c:pt idx="91">
                  <c:v>152</c:v>
                </c:pt>
                <c:pt idx="92">
                  <c:v>94</c:v>
                </c:pt>
                <c:pt idx="93">
                  <c:v>63</c:v>
                </c:pt>
                <c:pt idx="94">
                  <c:v>185</c:v>
                </c:pt>
                <c:pt idx="95">
                  <c:v>156</c:v>
                </c:pt>
                <c:pt idx="96">
                  <c:v>127</c:v>
                </c:pt>
                <c:pt idx="97">
                  <c:v>108</c:v>
                </c:pt>
                <c:pt idx="98">
                  <c:v>89</c:v>
                </c:pt>
                <c:pt idx="99">
                  <c:v>75</c:v>
                </c:pt>
                <c:pt idx="100">
                  <c:v>60</c:v>
                </c:pt>
                <c:pt idx="101">
                  <c:v>115</c:v>
                </c:pt>
                <c:pt idx="102">
                  <c:v>166</c:v>
                </c:pt>
                <c:pt idx="103">
                  <c:v>88</c:v>
                </c:pt>
                <c:pt idx="104">
                  <c:v>87</c:v>
                </c:pt>
                <c:pt idx="105">
                  <c:v>91</c:v>
                </c:pt>
                <c:pt idx="106">
                  <c:v>57</c:v>
                </c:pt>
                <c:pt idx="107">
                  <c:v>41</c:v>
                </c:pt>
                <c:pt idx="108">
                  <c:v>99</c:v>
                </c:pt>
                <c:pt idx="109">
                  <c:v>92</c:v>
                </c:pt>
                <c:pt idx="110">
                  <c:v>44</c:v>
                </c:pt>
                <c:pt idx="111">
                  <c:v>68</c:v>
                </c:pt>
                <c:pt idx="112">
                  <c:v>20</c:v>
                </c:pt>
                <c:pt idx="113">
                  <c:v>12</c:v>
                </c:pt>
                <c:pt idx="114">
                  <c:v>21</c:v>
                </c:pt>
                <c:pt idx="115">
                  <c:v>67</c:v>
                </c:pt>
                <c:pt idx="116">
                  <c:v>90</c:v>
                </c:pt>
                <c:pt idx="117">
                  <c:v>59</c:v>
                </c:pt>
                <c:pt idx="118">
                  <c:v>57</c:v>
                </c:pt>
                <c:pt idx="119">
                  <c:v>73</c:v>
                </c:pt>
                <c:pt idx="120">
                  <c:v>12</c:v>
                </c:pt>
                <c:pt idx="121">
                  <c:v>22</c:v>
                </c:pt>
                <c:pt idx="122">
                  <c:v>91</c:v>
                </c:pt>
                <c:pt idx="123">
                  <c:v>86</c:v>
                </c:pt>
                <c:pt idx="124">
                  <c:v>69</c:v>
                </c:pt>
                <c:pt idx="125">
                  <c:v>66</c:v>
                </c:pt>
                <c:pt idx="126">
                  <c:v>64</c:v>
                </c:pt>
                <c:pt idx="127">
                  <c:v>30</c:v>
                </c:pt>
                <c:pt idx="128">
                  <c:v>27</c:v>
                </c:pt>
                <c:pt idx="129">
                  <c:v>77</c:v>
                </c:pt>
                <c:pt idx="130">
                  <c:v>106</c:v>
                </c:pt>
                <c:pt idx="131">
                  <c:v>88</c:v>
                </c:pt>
                <c:pt idx="132">
                  <c:v>74</c:v>
                </c:pt>
                <c:pt idx="133">
                  <c:v>94</c:v>
                </c:pt>
                <c:pt idx="134">
                  <c:v>57</c:v>
                </c:pt>
                <c:pt idx="135">
                  <c:v>54</c:v>
                </c:pt>
                <c:pt idx="136">
                  <c:v>178</c:v>
                </c:pt>
                <c:pt idx="137">
                  <c:v>190</c:v>
                </c:pt>
                <c:pt idx="138">
                  <c:v>220</c:v>
                </c:pt>
                <c:pt idx="139">
                  <c:v>215</c:v>
                </c:pt>
                <c:pt idx="140">
                  <c:v>204</c:v>
                </c:pt>
                <c:pt idx="141">
                  <c:v>141</c:v>
                </c:pt>
                <c:pt idx="142">
                  <c:v>109</c:v>
                </c:pt>
                <c:pt idx="143">
                  <c:v>281</c:v>
                </c:pt>
                <c:pt idx="144">
                  <c:v>313</c:v>
                </c:pt>
                <c:pt idx="145">
                  <c:v>399</c:v>
                </c:pt>
                <c:pt idx="146">
                  <c:v>305</c:v>
                </c:pt>
                <c:pt idx="147">
                  <c:v>406</c:v>
                </c:pt>
                <c:pt idx="148">
                  <c:v>148</c:v>
                </c:pt>
                <c:pt idx="149">
                  <c:v>170</c:v>
                </c:pt>
                <c:pt idx="150">
                  <c:v>361</c:v>
                </c:pt>
                <c:pt idx="151">
                  <c:v>479</c:v>
                </c:pt>
                <c:pt idx="152">
                  <c:v>352</c:v>
                </c:pt>
                <c:pt idx="153">
                  <c:v>349</c:v>
                </c:pt>
                <c:pt idx="154">
                  <c:v>289</c:v>
                </c:pt>
                <c:pt idx="155">
                  <c:v>181</c:v>
                </c:pt>
                <c:pt idx="156">
                  <c:v>107</c:v>
                </c:pt>
                <c:pt idx="157">
                  <c:v>415</c:v>
                </c:pt>
                <c:pt idx="158">
                  <c:v>355</c:v>
                </c:pt>
                <c:pt idx="159">
                  <c:v>302</c:v>
                </c:pt>
                <c:pt idx="160">
                  <c:v>252</c:v>
                </c:pt>
                <c:pt idx="161">
                  <c:v>216</c:v>
                </c:pt>
                <c:pt idx="162">
                  <c:v>122</c:v>
                </c:pt>
                <c:pt idx="163">
                  <c:v>87</c:v>
                </c:pt>
                <c:pt idx="164">
                  <c:v>233</c:v>
                </c:pt>
                <c:pt idx="165">
                  <c:v>256</c:v>
                </c:pt>
                <c:pt idx="166">
                  <c:v>169</c:v>
                </c:pt>
                <c:pt idx="167">
                  <c:v>151</c:v>
                </c:pt>
                <c:pt idx="168">
                  <c:v>141</c:v>
                </c:pt>
                <c:pt idx="169">
                  <c:v>78</c:v>
                </c:pt>
                <c:pt idx="170">
                  <c:v>51</c:v>
                </c:pt>
                <c:pt idx="171">
                  <c:v>187</c:v>
                </c:pt>
                <c:pt idx="172">
                  <c:v>143</c:v>
                </c:pt>
                <c:pt idx="173">
                  <c:v>109</c:v>
                </c:pt>
                <c:pt idx="174">
                  <c:v>122</c:v>
                </c:pt>
                <c:pt idx="175">
                  <c:v>96</c:v>
                </c:pt>
                <c:pt idx="176">
                  <c:v>56</c:v>
                </c:pt>
                <c:pt idx="177">
                  <c:v>41</c:v>
                </c:pt>
                <c:pt idx="178">
                  <c:v>151</c:v>
                </c:pt>
                <c:pt idx="179">
                  <c:v>132</c:v>
                </c:pt>
                <c:pt idx="180">
                  <c:v>101</c:v>
                </c:pt>
                <c:pt idx="181">
                  <c:v>95</c:v>
                </c:pt>
                <c:pt idx="182">
                  <c:v>7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E8FD-43E4-BA1D-0B494D841FF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604314152"/>
        <c:axId val="604312192"/>
      </c:lineChart>
      <c:catAx>
        <c:axId val="604314152"/>
        <c:scaling>
          <c:orientation val="minMax"/>
        </c:scaling>
        <c:delete val="0"/>
        <c:axPos val="b"/>
        <c:numFmt formatCode="dd/mm/yy;@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604312192"/>
        <c:crosses val="autoZero"/>
        <c:auto val="1"/>
        <c:lblAlgn val="ctr"/>
        <c:lblOffset val="100"/>
        <c:tickLblSkip val="7"/>
        <c:noMultiLvlLbl val="0"/>
      </c:catAx>
      <c:valAx>
        <c:axId val="604312192"/>
        <c:scaling>
          <c:orientation val="minMax"/>
          <c:max val="500"/>
          <c:min val="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60431415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200">
          <a:solidFill>
            <a:schemeClr val="tx1"/>
          </a:solidFill>
          <a:latin typeface="Calibri" panose="020F0502020204030204" pitchFamily="34" charset="0"/>
          <a:cs typeface="Calibri" panose="020F0502020204030204" pitchFamily="34" charset="0"/>
        </a:defRPr>
      </a:pPr>
      <a:endParaRPr lang="cs-CZ"/>
    </a:p>
  </c:txPr>
  <c:externalData r:id="rId3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2895491925027349E-2"/>
          <c:y val="2.8733097084892491E-2"/>
          <c:w val="0.68987323987963556"/>
          <c:h val="0.83918438300516462"/>
        </c:manualLayout>
      </c:layout>
      <c:lineChart>
        <c:grouping val="standar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Lékaři</c:v>
                </c:pt>
              </c:strCache>
            </c:strRef>
          </c:tx>
          <c:spPr>
            <a:ln w="28575" cap="rnd">
              <a:solidFill>
                <a:srgbClr val="4472C4"/>
              </a:solidFill>
              <a:prstDash val="solid"/>
              <a:round/>
            </a:ln>
            <a:effectLst/>
          </c:spPr>
          <c:marker>
            <c:symbol val="none"/>
          </c:marker>
          <c:dLbls>
            <c:dLbl>
              <c:idx val="182"/>
              <c:layout>
                <c:manualLayout>
                  <c:x val="-1.3019527064393282E-16"/>
                  <c:y val="2.3312783206719222E-3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0"/>
                <a:lstStyle/>
                <a:p>
                  <a:pPr algn="l">
                    <a:defRPr sz="1200" b="1" i="0" u="none" strike="noStrike" kern="1200" baseline="0">
                      <a:solidFill>
                        <a:srgbClr val="4472C4"/>
                      </a:solidFill>
                      <a:latin typeface="Calibri" panose="020F0502020204030204" pitchFamily="34" charset="0"/>
                      <a:ea typeface="+mn-ea"/>
                      <a:cs typeface="Calibri" panose="020F0502020204030204" pitchFamily="34" charset="0"/>
                    </a:defRPr>
                  </a:pPr>
                  <a:endParaRPr lang="cs-CZ"/>
                </a:p>
              </c:txPr>
              <c:dLblPos val="r"/>
              <c:showLegendKey val="0"/>
              <c:showVal val="1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4601304996662368"/>
                      <c:h val="4.1147062359859425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0-37CD-4BA3-857E-B86804E5EE02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Calibri" panose="020F0502020204030204" pitchFamily="34" charset="0"/>
                    <a:ea typeface="+mn-ea"/>
                    <a:cs typeface="Calibri" panose="020F0502020204030204" pitchFamily="34" charset="0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GB$1</c:f>
              <c:strCache>
                <c:ptCount val="183"/>
                <c:pt idx="0">
                  <c:v>03.09.21</c:v>
                </c:pt>
                <c:pt idx="1">
                  <c:v>04.09.21</c:v>
                </c:pt>
                <c:pt idx="2">
                  <c:v>05.09.21</c:v>
                </c:pt>
                <c:pt idx="3">
                  <c:v>06.09.21</c:v>
                </c:pt>
                <c:pt idx="4">
                  <c:v>07.09.21</c:v>
                </c:pt>
                <c:pt idx="5">
                  <c:v>08.09.21</c:v>
                </c:pt>
                <c:pt idx="6">
                  <c:v>09.09.21</c:v>
                </c:pt>
                <c:pt idx="7">
                  <c:v>10.09.21</c:v>
                </c:pt>
                <c:pt idx="8">
                  <c:v>11.09.21</c:v>
                </c:pt>
                <c:pt idx="9">
                  <c:v>12.09.21</c:v>
                </c:pt>
                <c:pt idx="10">
                  <c:v>13.09.21</c:v>
                </c:pt>
                <c:pt idx="11">
                  <c:v>14.09.21</c:v>
                </c:pt>
                <c:pt idx="12">
                  <c:v>15.09.21</c:v>
                </c:pt>
                <c:pt idx="13">
                  <c:v>16.09.21</c:v>
                </c:pt>
                <c:pt idx="14">
                  <c:v>17.09.21</c:v>
                </c:pt>
                <c:pt idx="15">
                  <c:v>18.09.21</c:v>
                </c:pt>
                <c:pt idx="16">
                  <c:v>19.09.21</c:v>
                </c:pt>
                <c:pt idx="17">
                  <c:v>20.09.21</c:v>
                </c:pt>
                <c:pt idx="18">
                  <c:v>21.09.21</c:v>
                </c:pt>
                <c:pt idx="19">
                  <c:v>22.09.21</c:v>
                </c:pt>
                <c:pt idx="20">
                  <c:v>23.09.21</c:v>
                </c:pt>
                <c:pt idx="21">
                  <c:v>24.09.21</c:v>
                </c:pt>
                <c:pt idx="22">
                  <c:v>25.09.21</c:v>
                </c:pt>
                <c:pt idx="23">
                  <c:v>26.09.21</c:v>
                </c:pt>
                <c:pt idx="24">
                  <c:v>27.09.21</c:v>
                </c:pt>
                <c:pt idx="25">
                  <c:v>28.09.21</c:v>
                </c:pt>
                <c:pt idx="26">
                  <c:v>29.09.21</c:v>
                </c:pt>
                <c:pt idx="27">
                  <c:v>30.09.21</c:v>
                </c:pt>
                <c:pt idx="28">
                  <c:v>01.10.21</c:v>
                </c:pt>
                <c:pt idx="29">
                  <c:v>02.10.21</c:v>
                </c:pt>
                <c:pt idx="30">
                  <c:v>03.10.21</c:v>
                </c:pt>
                <c:pt idx="31">
                  <c:v>04.10.21</c:v>
                </c:pt>
                <c:pt idx="32">
                  <c:v>05.10.21</c:v>
                </c:pt>
                <c:pt idx="33">
                  <c:v>06.10.21</c:v>
                </c:pt>
                <c:pt idx="34">
                  <c:v>07.10.21</c:v>
                </c:pt>
                <c:pt idx="35">
                  <c:v>08.10.21</c:v>
                </c:pt>
                <c:pt idx="36">
                  <c:v>09.10.21</c:v>
                </c:pt>
                <c:pt idx="37">
                  <c:v>10.10.21</c:v>
                </c:pt>
                <c:pt idx="38">
                  <c:v>11.10.21</c:v>
                </c:pt>
                <c:pt idx="39">
                  <c:v>12.10.21</c:v>
                </c:pt>
                <c:pt idx="40">
                  <c:v>13.10.21</c:v>
                </c:pt>
                <c:pt idx="41">
                  <c:v>14.10.21</c:v>
                </c:pt>
                <c:pt idx="42">
                  <c:v>15.10.21</c:v>
                </c:pt>
                <c:pt idx="43">
                  <c:v>16.10.21</c:v>
                </c:pt>
                <c:pt idx="44">
                  <c:v>17.10.21</c:v>
                </c:pt>
                <c:pt idx="45">
                  <c:v>18.10.21</c:v>
                </c:pt>
                <c:pt idx="46">
                  <c:v>19.10.21</c:v>
                </c:pt>
                <c:pt idx="47">
                  <c:v>20.10.21</c:v>
                </c:pt>
                <c:pt idx="48">
                  <c:v>21.10.21</c:v>
                </c:pt>
                <c:pt idx="49">
                  <c:v>22.10.21</c:v>
                </c:pt>
                <c:pt idx="50">
                  <c:v>23.10.21</c:v>
                </c:pt>
                <c:pt idx="51">
                  <c:v>24.10.21</c:v>
                </c:pt>
                <c:pt idx="52">
                  <c:v>25.10.21</c:v>
                </c:pt>
                <c:pt idx="53">
                  <c:v>26.10.21</c:v>
                </c:pt>
                <c:pt idx="54">
                  <c:v>27.10.21</c:v>
                </c:pt>
                <c:pt idx="55">
                  <c:v>28.10.21</c:v>
                </c:pt>
                <c:pt idx="56">
                  <c:v>29.10.21</c:v>
                </c:pt>
                <c:pt idx="57">
                  <c:v>30.10.21</c:v>
                </c:pt>
                <c:pt idx="58">
                  <c:v>31.10.21</c:v>
                </c:pt>
                <c:pt idx="59">
                  <c:v>01.11.21</c:v>
                </c:pt>
                <c:pt idx="60">
                  <c:v>02.11.21</c:v>
                </c:pt>
                <c:pt idx="61">
                  <c:v>03.11.21</c:v>
                </c:pt>
                <c:pt idx="62">
                  <c:v>04.11.21</c:v>
                </c:pt>
                <c:pt idx="63">
                  <c:v>05.11.21</c:v>
                </c:pt>
                <c:pt idx="64">
                  <c:v>06.11.21</c:v>
                </c:pt>
                <c:pt idx="65">
                  <c:v>07.11.21</c:v>
                </c:pt>
                <c:pt idx="66">
                  <c:v>08.11.21</c:v>
                </c:pt>
                <c:pt idx="67">
                  <c:v>09.11.21</c:v>
                </c:pt>
                <c:pt idx="68">
                  <c:v>10.11.21</c:v>
                </c:pt>
                <c:pt idx="69">
                  <c:v>11.11.21</c:v>
                </c:pt>
                <c:pt idx="70">
                  <c:v>12.11.21</c:v>
                </c:pt>
                <c:pt idx="71">
                  <c:v>13.11.21</c:v>
                </c:pt>
                <c:pt idx="72">
                  <c:v>14.11.21</c:v>
                </c:pt>
                <c:pt idx="73">
                  <c:v>15.11.21</c:v>
                </c:pt>
                <c:pt idx="74">
                  <c:v>16.11.21</c:v>
                </c:pt>
                <c:pt idx="75">
                  <c:v>17.11.21</c:v>
                </c:pt>
                <c:pt idx="76">
                  <c:v>18.11.21</c:v>
                </c:pt>
                <c:pt idx="77">
                  <c:v>19.11.21</c:v>
                </c:pt>
                <c:pt idx="78">
                  <c:v>20.11.21</c:v>
                </c:pt>
                <c:pt idx="79">
                  <c:v>21.11.21</c:v>
                </c:pt>
                <c:pt idx="80">
                  <c:v>22.11.21</c:v>
                </c:pt>
                <c:pt idx="81">
                  <c:v>23.11.21</c:v>
                </c:pt>
                <c:pt idx="82">
                  <c:v>24.11.21</c:v>
                </c:pt>
                <c:pt idx="83">
                  <c:v>25.11.21</c:v>
                </c:pt>
                <c:pt idx="84">
                  <c:v>26.11.21</c:v>
                </c:pt>
                <c:pt idx="85">
                  <c:v>27.11.21</c:v>
                </c:pt>
                <c:pt idx="86">
                  <c:v>28.11.21</c:v>
                </c:pt>
                <c:pt idx="87">
                  <c:v>29.11.21</c:v>
                </c:pt>
                <c:pt idx="88">
                  <c:v>30.11.21</c:v>
                </c:pt>
                <c:pt idx="89">
                  <c:v>01.12.21</c:v>
                </c:pt>
                <c:pt idx="90">
                  <c:v>02.12.21</c:v>
                </c:pt>
                <c:pt idx="91">
                  <c:v>03.12.21</c:v>
                </c:pt>
                <c:pt idx="92">
                  <c:v>04.12.21</c:v>
                </c:pt>
                <c:pt idx="93">
                  <c:v>05.12.21</c:v>
                </c:pt>
                <c:pt idx="94">
                  <c:v>06.12.21</c:v>
                </c:pt>
                <c:pt idx="95">
                  <c:v>07.12.21</c:v>
                </c:pt>
                <c:pt idx="96">
                  <c:v>08.12.21</c:v>
                </c:pt>
                <c:pt idx="97">
                  <c:v>09.12.21</c:v>
                </c:pt>
                <c:pt idx="98">
                  <c:v>10.12.21</c:v>
                </c:pt>
                <c:pt idx="99">
                  <c:v>11.12.21</c:v>
                </c:pt>
                <c:pt idx="100">
                  <c:v>12.12.21</c:v>
                </c:pt>
                <c:pt idx="101">
                  <c:v>13.12.21</c:v>
                </c:pt>
                <c:pt idx="102">
                  <c:v>14.12.21</c:v>
                </c:pt>
                <c:pt idx="103">
                  <c:v>15.12.21</c:v>
                </c:pt>
                <c:pt idx="104">
                  <c:v>16.12.21</c:v>
                </c:pt>
                <c:pt idx="105">
                  <c:v>17.12.21</c:v>
                </c:pt>
                <c:pt idx="106">
                  <c:v>18.12.21</c:v>
                </c:pt>
                <c:pt idx="107">
                  <c:v>19.12.21</c:v>
                </c:pt>
                <c:pt idx="108">
                  <c:v>20.12.21</c:v>
                </c:pt>
                <c:pt idx="109">
                  <c:v>21.12.21</c:v>
                </c:pt>
                <c:pt idx="110">
                  <c:v>22.12.21</c:v>
                </c:pt>
                <c:pt idx="111">
                  <c:v>23.12.21</c:v>
                </c:pt>
                <c:pt idx="112">
                  <c:v>24.12.21</c:v>
                </c:pt>
                <c:pt idx="113">
                  <c:v>25.12.21</c:v>
                </c:pt>
                <c:pt idx="114">
                  <c:v>26.12.21</c:v>
                </c:pt>
                <c:pt idx="115">
                  <c:v>27.12.21</c:v>
                </c:pt>
                <c:pt idx="116">
                  <c:v>28.12.21</c:v>
                </c:pt>
                <c:pt idx="117">
                  <c:v>29.12.21</c:v>
                </c:pt>
                <c:pt idx="118">
                  <c:v>30.12.21</c:v>
                </c:pt>
                <c:pt idx="119">
                  <c:v>31.12.21</c:v>
                </c:pt>
                <c:pt idx="120">
                  <c:v>01.01.22</c:v>
                </c:pt>
                <c:pt idx="121">
                  <c:v>02.01.22</c:v>
                </c:pt>
                <c:pt idx="122">
                  <c:v>03.01.22</c:v>
                </c:pt>
                <c:pt idx="123">
                  <c:v>04.01.22</c:v>
                </c:pt>
                <c:pt idx="124">
                  <c:v>05.01.22</c:v>
                </c:pt>
                <c:pt idx="125">
                  <c:v>06.01.22</c:v>
                </c:pt>
                <c:pt idx="126">
                  <c:v>07.01.22</c:v>
                </c:pt>
                <c:pt idx="127">
                  <c:v>08.01.22</c:v>
                </c:pt>
                <c:pt idx="128">
                  <c:v>09.01.22</c:v>
                </c:pt>
                <c:pt idx="129">
                  <c:v>10.01.22</c:v>
                </c:pt>
                <c:pt idx="130">
                  <c:v>11.01.22</c:v>
                </c:pt>
                <c:pt idx="131">
                  <c:v>12.01.22</c:v>
                </c:pt>
                <c:pt idx="132">
                  <c:v>13.01.22</c:v>
                </c:pt>
                <c:pt idx="133">
                  <c:v>14.01.22</c:v>
                </c:pt>
                <c:pt idx="134">
                  <c:v>15.01.22</c:v>
                </c:pt>
                <c:pt idx="135">
                  <c:v>16.01.22</c:v>
                </c:pt>
                <c:pt idx="136">
                  <c:v>17.01.22</c:v>
                </c:pt>
                <c:pt idx="137">
                  <c:v>18.01.22</c:v>
                </c:pt>
                <c:pt idx="138">
                  <c:v>19.01.22</c:v>
                </c:pt>
                <c:pt idx="139">
                  <c:v>20.01.22</c:v>
                </c:pt>
                <c:pt idx="140">
                  <c:v>21.01.22</c:v>
                </c:pt>
                <c:pt idx="141">
                  <c:v>22.01.22</c:v>
                </c:pt>
                <c:pt idx="142">
                  <c:v>23.01.22</c:v>
                </c:pt>
                <c:pt idx="143">
                  <c:v>24.01.22</c:v>
                </c:pt>
                <c:pt idx="144">
                  <c:v>25.01.22</c:v>
                </c:pt>
                <c:pt idx="145">
                  <c:v>26.01.22</c:v>
                </c:pt>
                <c:pt idx="146">
                  <c:v>27.01.22</c:v>
                </c:pt>
                <c:pt idx="147">
                  <c:v>28.01.22</c:v>
                </c:pt>
                <c:pt idx="148">
                  <c:v>29.01.22</c:v>
                </c:pt>
                <c:pt idx="149">
                  <c:v>30.01.22</c:v>
                </c:pt>
                <c:pt idx="150">
                  <c:v>31.01.22</c:v>
                </c:pt>
                <c:pt idx="151">
                  <c:v>01.02.22</c:v>
                </c:pt>
                <c:pt idx="152">
                  <c:v>02.02.22</c:v>
                </c:pt>
                <c:pt idx="153">
                  <c:v>03.02.22</c:v>
                </c:pt>
                <c:pt idx="154">
                  <c:v>04.02.22</c:v>
                </c:pt>
                <c:pt idx="155">
                  <c:v>05.02.22</c:v>
                </c:pt>
                <c:pt idx="156">
                  <c:v>06.02.22</c:v>
                </c:pt>
                <c:pt idx="157">
                  <c:v>07.02.22</c:v>
                </c:pt>
                <c:pt idx="158">
                  <c:v>08.02.22</c:v>
                </c:pt>
                <c:pt idx="159">
                  <c:v>09.02.22</c:v>
                </c:pt>
                <c:pt idx="160">
                  <c:v>10.02.22</c:v>
                </c:pt>
                <c:pt idx="161">
                  <c:v>11.02.22</c:v>
                </c:pt>
                <c:pt idx="162">
                  <c:v>12.02.22</c:v>
                </c:pt>
                <c:pt idx="163">
                  <c:v>13.02.22</c:v>
                </c:pt>
                <c:pt idx="164">
                  <c:v>14.02.22</c:v>
                </c:pt>
                <c:pt idx="165">
                  <c:v>15.02.22</c:v>
                </c:pt>
                <c:pt idx="166">
                  <c:v>16.02.22</c:v>
                </c:pt>
                <c:pt idx="167">
                  <c:v>17.02.22</c:v>
                </c:pt>
                <c:pt idx="168">
                  <c:v>18.02.22</c:v>
                </c:pt>
                <c:pt idx="169">
                  <c:v>19.02.22</c:v>
                </c:pt>
                <c:pt idx="170">
                  <c:v>20.02.22</c:v>
                </c:pt>
                <c:pt idx="171">
                  <c:v>21.02.22</c:v>
                </c:pt>
                <c:pt idx="172">
                  <c:v>22.02.22</c:v>
                </c:pt>
                <c:pt idx="173">
                  <c:v>23.02.22</c:v>
                </c:pt>
                <c:pt idx="174">
                  <c:v>24.02.22</c:v>
                </c:pt>
                <c:pt idx="175">
                  <c:v>25.02.22</c:v>
                </c:pt>
                <c:pt idx="176">
                  <c:v>26.02.22</c:v>
                </c:pt>
                <c:pt idx="177">
                  <c:v>27.02.22</c:v>
                </c:pt>
                <c:pt idx="178">
                  <c:v>28.02.22</c:v>
                </c:pt>
                <c:pt idx="179">
                  <c:v>01.03.22</c:v>
                </c:pt>
                <c:pt idx="180">
                  <c:v>02.03.22</c:v>
                </c:pt>
                <c:pt idx="181">
                  <c:v>03.03.22</c:v>
                </c:pt>
                <c:pt idx="182">
                  <c:v>04.03.22</c:v>
                </c:pt>
              </c:strCache>
            </c:strRef>
          </c:cat>
          <c:val>
            <c:numRef>
              <c:f>List1!$B$2:$GB$2</c:f>
              <c:numCache>
                <c:formatCode>General</c:formatCode>
                <c:ptCount val="183"/>
                <c:pt idx="0">
                  <c:v>53</c:v>
                </c:pt>
                <c:pt idx="1">
                  <c:v>56</c:v>
                </c:pt>
                <c:pt idx="2">
                  <c:v>57</c:v>
                </c:pt>
                <c:pt idx="3">
                  <c:v>55</c:v>
                </c:pt>
                <c:pt idx="4">
                  <c:v>56</c:v>
                </c:pt>
                <c:pt idx="5">
                  <c:v>55</c:v>
                </c:pt>
                <c:pt idx="6">
                  <c:v>55</c:v>
                </c:pt>
                <c:pt idx="7">
                  <c:v>56</c:v>
                </c:pt>
                <c:pt idx="8">
                  <c:v>59</c:v>
                </c:pt>
                <c:pt idx="9">
                  <c:v>58</c:v>
                </c:pt>
                <c:pt idx="10">
                  <c:v>60</c:v>
                </c:pt>
                <c:pt idx="11">
                  <c:v>59</c:v>
                </c:pt>
                <c:pt idx="12">
                  <c:v>56</c:v>
                </c:pt>
                <c:pt idx="13">
                  <c:v>57</c:v>
                </c:pt>
                <c:pt idx="14">
                  <c:v>57</c:v>
                </c:pt>
                <c:pt idx="15">
                  <c:v>56</c:v>
                </c:pt>
                <c:pt idx="16">
                  <c:v>56</c:v>
                </c:pt>
                <c:pt idx="17">
                  <c:v>54</c:v>
                </c:pt>
                <c:pt idx="18">
                  <c:v>57</c:v>
                </c:pt>
                <c:pt idx="19">
                  <c:v>60</c:v>
                </c:pt>
                <c:pt idx="20">
                  <c:v>60</c:v>
                </c:pt>
                <c:pt idx="21">
                  <c:v>61</c:v>
                </c:pt>
                <c:pt idx="22">
                  <c:v>59</c:v>
                </c:pt>
                <c:pt idx="23">
                  <c:v>59</c:v>
                </c:pt>
                <c:pt idx="24">
                  <c:v>61</c:v>
                </c:pt>
                <c:pt idx="25">
                  <c:v>65</c:v>
                </c:pt>
                <c:pt idx="26">
                  <c:v>68</c:v>
                </c:pt>
                <c:pt idx="27">
                  <c:v>76</c:v>
                </c:pt>
                <c:pt idx="28">
                  <c:v>77</c:v>
                </c:pt>
                <c:pt idx="29">
                  <c:v>81</c:v>
                </c:pt>
                <c:pt idx="30">
                  <c:v>81</c:v>
                </c:pt>
                <c:pt idx="31">
                  <c:v>80</c:v>
                </c:pt>
                <c:pt idx="32">
                  <c:v>79</c:v>
                </c:pt>
                <c:pt idx="33">
                  <c:v>80</c:v>
                </c:pt>
                <c:pt idx="34">
                  <c:v>85</c:v>
                </c:pt>
                <c:pt idx="35">
                  <c:v>88</c:v>
                </c:pt>
                <c:pt idx="36">
                  <c:v>89</c:v>
                </c:pt>
                <c:pt idx="37">
                  <c:v>88</c:v>
                </c:pt>
                <c:pt idx="38">
                  <c:v>82</c:v>
                </c:pt>
                <c:pt idx="39">
                  <c:v>91</c:v>
                </c:pt>
                <c:pt idx="40">
                  <c:v>88</c:v>
                </c:pt>
                <c:pt idx="41">
                  <c:v>91</c:v>
                </c:pt>
                <c:pt idx="42">
                  <c:v>94</c:v>
                </c:pt>
                <c:pt idx="43">
                  <c:v>97</c:v>
                </c:pt>
                <c:pt idx="44">
                  <c:v>103</c:v>
                </c:pt>
                <c:pt idx="45">
                  <c:v>120</c:v>
                </c:pt>
                <c:pt idx="46">
                  <c:v>133</c:v>
                </c:pt>
                <c:pt idx="47">
                  <c:v>141</c:v>
                </c:pt>
                <c:pt idx="48">
                  <c:v>148</c:v>
                </c:pt>
                <c:pt idx="49">
                  <c:v>159</c:v>
                </c:pt>
                <c:pt idx="50">
                  <c:v>172</c:v>
                </c:pt>
                <c:pt idx="51">
                  <c:v>182</c:v>
                </c:pt>
                <c:pt idx="52">
                  <c:v>207</c:v>
                </c:pt>
                <c:pt idx="53">
                  <c:v>214</c:v>
                </c:pt>
                <c:pt idx="54">
                  <c:v>235</c:v>
                </c:pt>
                <c:pt idx="55">
                  <c:v>249</c:v>
                </c:pt>
                <c:pt idx="56">
                  <c:v>279</c:v>
                </c:pt>
                <c:pt idx="57">
                  <c:v>295</c:v>
                </c:pt>
                <c:pt idx="58">
                  <c:v>301</c:v>
                </c:pt>
                <c:pt idx="59">
                  <c:v>340</c:v>
                </c:pt>
                <c:pt idx="60">
                  <c:v>361</c:v>
                </c:pt>
                <c:pt idx="61">
                  <c:v>384</c:v>
                </c:pt>
                <c:pt idx="62">
                  <c:v>398</c:v>
                </c:pt>
                <c:pt idx="63">
                  <c:v>416</c:v>
                </c:pt>
                <c:pt idx="64">
                  <c:v>424</c:v>
                </c:pt>
                <c:pt idx="65">
                  <c:v>432</c:v>
                </c:pt>
                <c:pt idx="66">
                  <c:v>453</c:v>
                </c:pt>
                <c:pt idx="67">
                  <c:v>484</c:v>
                </c:pt>
                <c:pt idx="68">
                  <c:v>498</c:v>
                </c:pt>
                <c:pt idx="69">
                  <c:v>530</c:v>
                </c:pt>
                <c:pt idx="70">
                  <c:v>528</c:v>
                </c:pt>
                <c:pt idx="71">
                  <c:v>562</c:v>
                </c:pt>
                <c:pt idx="72">
                  <c:v>567</c:v>
                </c:pt>
                <c:pt idx="73">
                  <c:v>567</c:v>
                </c:pt>
                <c:pt idx="74">
                  <c:v>592</c:v>
                </c:pt>
                <c:pt idx="75">
                  <c:v>597</c:v>
                </c:pt>
                <c:pt idx="76">
                  <c:v>621</c:v>
                </c:pt>
                <c:pt idx="77">
                  <c:v>662</c:v>
                </c:pt>
                <c:pt idx="78">
                  <c:v>691</c:v>
                </c:pt>
                <c:pt idx="79">
                  <c:v>696</c:v>
                </c:pt>
                <c:pt idx="80">
                  <c:v>693</c:v>
                </c:pt>
                <c:pt idx="81">
                  <c:v>729</c:v>
                </c:pt>
                <c:pt idx="82">
                  <c:v>717</c:v>
                </c:pt>
                <c:pt idx="83">
                  <c:v>735</c:v>
                </c:pt>
                <c:pt idx="84">
                  <c:v>724</c:v>
                </c:pt>
                <c:pt idx="85">
                  <c:v>731</c:v>
                </c:pt>
                <c:pt idx="86">
                  <c:v>744</c:v>
                </c:pt>
                <c:pt idx="87">
                  <c:v>734</c:v>
                </c:pt>
                <c:pt idx="88">
                  <c:v>728</c:v>
                </c:pt>
                <c:pt idx="89">
                  <c:v>745</c:v>
                </c:pt>
                <c:pt idx="90">
                  <c:v>718</c:v>
                </c:pt>
                <c:pt idx="91">
                  <c:v>690</c:v>
                </c:pt>
                <c:pt idx="92">
                  <c:v>683</c:v>
                </c:pt>
                <c:pt idx="93">
                  <c:v>665</c:v>
                </c:pt>
                <c:pt idx="94">
                  <c:v>624</c:v>
                </c:pt>
                <c:pt idx="95">
                  <c:v>605</c:v>
                </c:pt>
                <c:pt idx="96">
                  <c:v>593</c:v>
                </c:pt>
                <c:pt idx="97">
                  <c:v>566</c:v>
                </c:pt>
                <c:pt idx="98">
                  <c:v>546</c:v>
                </c:pt>
                <c:pt idx="99">
                  <c:v>535</c:v>
                </c:pt>
                <c:pt idx="100">
                  <c:v>515</c:v>
                </c:pt>
                <c:pt idx="101">
                  <c:v>483</c:v>
                </c:pt>
                <c:pt idx="102">
                  <c:v>461</c:v>
                </c:pt>
                <c:pt idx="103">
                  <c:v>438</c:v>
                </c:pt>
                <c:pt idx="104">
                  <c:v>411</c:v>
                </c:pt>
                <c:pt idx="105">
                  <c:v>387</c:v>
                </c:pt>
                <c:pt idx="106">
                  <c:v>384</c:v>
                </c:pt>
                <c:pt idx="107">
                  <c:v>382</c:v>
                </c:pt>
                <c:pt idx="108">
                  <c:v>357</c:v>
                </c:pt>
                <c:pt idx="109">
                  <c:v>356</c:v>
                </c:pt>
                <c:pt idx="110">
                  <c:v>341</c:v>
                </c:pt>
                <c:pt idx="111">
                  <c:v>332</c:v>
                </c:pt>
                <c:pt idx="112">
                  <c:v>305</c:v>
                </c:pt>
                <c:pt idx="113">
                  <c:v>302</c:v>
                </c:pt>
                <c:pt idx="114">
                  <c:v>298</c:v>
                </c:pt>
                <c:pt idx="115">
                  <c:v>289</c:v>
                </c:pt>
                <c:pt idx="116">
                  <c:v>296</c:v>
                </c:pt>
                <c:pt idx="117">
                  <c:v>299</c:v>
                </c:pt>
                <c:pt idx="118">
                  <c:v>300</c:v>
                </c:pt>
                <c:pt idx="119">
                  <c:v>296</c:v>
                </c:pt>
                <c:pt idx="120">
                  <c:v>286</c:v>
                </c:pt>
                <c:pt idx="121">
                  <c:v>294</c:v>
                </c:pt>
                <c:pt idx="122">
                  <c:v>293</c:v>
                </c:pt>
                <c:pt idx="123">
                  <c:v>297</c:v>
                </c:pt>
                <c:pt idx="124">
                  <c:v>300</c:v>
                </c:pt>
                <c:pt idx="125">
                  <c:v>308</c:v>
                </c:pt>
                <c:pt idx="126">
                  <c:v>321</c:v>
                </c:pt>
                <c:pt idx="127">
                  <c:v>324</c:v>
                </c:pt>
                <c:pt idx="128">
                  <c:v>330</c:v>
                </c:pt>
                <c:pt idx="129">
                  <c:v>329</c:v>
                </c:pt>
                <c:pt idx="130">
                  <c:v>346</c:v>
                </c:pt>
                <c:pt idx="131">
                  <c:v>396</c:v>
                </c:pt>
                <c:pt idx="132">
                  <c:v>412</c:v>
                </c:pt>
                <c:pt idx="133">
                  <c:v>441</c:v>
                </c:pt>
                <c:pt idx="134">
                  <c:v>460</c:v>
                </c:pt>
                <c:pt idx="135">
                  <c:v>479</c:v>
                </c:pt>
                <c:pt idx="136">
                  <c:v>552</c:v>
                </c:pt>
                <c:pt idx="137">
                  <c:v>619</c:v>
                </c:pt>
                <c:pt idx="138">
                  <c:v>707</c:v>
                </c:pt>
                <c:pt idx="139">
                  <c:v>796</c:v>
                </c:pt>
                <c:pt idx="140">
                  <c:v>804</c:v>
                </c:pt>
                <c:pt idx="141">
                  <c:v>788</c:v>
                </c:pt>
                <c:pt idx="142">
                  <c:v>805</c:v>
                </c:pt>
                <c:pt idx="143">
                  <c:v>896</c:v>
                </c:pt>
                <c:pt idx="144">
                  <c:v>1007</c:v>
                </c:pt>
                <c:pt idx="145">
                  <c:v>1128</c:v>
                </c:pt>
                <c:pt idx="146">
                  <c:v>1147</c:v>
                </c:pt>
                <c:pt idx="147">
                  <c:v>1199</c:v>
                </c:pt>
                <c:pt idx="148">
                  <c:v>1148</c:v>
                </c:pt>
                <c:pt idx="149">
                  <c:v>1148</c:v>
                </c:pt>
                <c:pt idx="150">
                  <c:v>1221</c:v>
                </c:pt>
                <c:pt idx="151">
                  <c:v>1360</c:v>
                </c:pt>
                <c:pt idx="152">
                  <c:v>1409</c:v>
                </c:pt>
                <c:pt idx="153">
                  <c:v>1348</c:v>
                </c:pt>
                <c:pt idx="154">
                  <c:v>1281</c:v>
                </c:pt>
                <c:pt idx="155">
                  <c:v>1226</c:v>
                </c:pt>
                <c:pt idx="156">
                  <c:v>1141</c:v>
                </c:pt>
                <c:pt idx="157">
                  <c:v>1145</c:v>
                </c:pt>
                <c:pt idx="158">
                  <c:v>1189</c:v>
                </c:pt>
                <c:pt idx="159">
                  <c:v>1185</c:v>
                </c:pt>
                <c:pt idx="160">
                  <c:v>1068</c:v>
                </c:pt>
                <c:pt idx="161">
                  <c:v>1007</c:v>
                </c:pt>
                <c:pt idx="162">
                  <c:v>892</c:v>
                </c:pt>
                <c:pt idx="163">
                  <c:v>812</c:v>
                </c:pt>
                <c:pt idx="164">
                  <c:v>833</c:v>
                </c:pt>
                <c:pt idx="165">
                  <c:v>863</c:v>
                </c:pt>
                <c:pt idx="166">
                  <c:v>879</c:v>
                </c:pt>
                <c:pt idx="167">
                  <c:v>796</c:v>
                </c:pt>
                <c:pt idx="168">
                  <c:v>750</c:v>
                </c:pt>
                <c:pt idx="169">
                  <c:v>703</c:v>
                </c:pt>
                <c:pt idx="170">
                  <c:v>635</c:v>
                </c:pt>
                <c:pt idx="171">
                  <c:v>624</c:v>
                </c:pt>
                <c:pt idx="172">
                  <c:v>631</c:v>
                </c:pt>
                <c:pt idx="173">
                  <c:v>635</c:v>
                </c:pt>
                <c:pt idx="174">
                  <c:v>547</c:v>
                </c:pt>
                <c:pt idx="175">
                  <c:v>501</c:v>
                </c:pt>
                <c:pt idx="176">
                  <c:v>467</c:v>
                </c:pt>
                <c:pt idx="177">
                  <c:v>432</c:v>
                </c:pt>
                <c:pt idx="178">
                  <c:v>444</c:v>
                </c:pt>
                <c:pt idx="179">
                  <c:v>448</c:v>
                </c:pt>
                <c:pt idx="180">
                  <c:v>470</c:v>
                </c:pt>
                <c:pt idx="181">
                  <c:v>444</c:v>
                </c:pt>
                <c:pt idx="182">
                  <c:v>42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37CD-4BA3-857E-B86804E5EE02}"/>
            </c:ext>
          </c:extLst>
        </c:ser>
        <c:ser>
          <c:idx val="1"/>
          <c:order val="1"/>
          <c:tx>
            <c:strRef>
              <c:f>List1!$A$3</c:f>
              <c:strCache>
                <c:ptCount val="1"/>
                <c:pt idx="0">
                  <c:v>Sesterská povolání</c:v>
                </c:pt>
              </c:strCache>
            </c:strRef>
          </c:tx>
          <c:spPr>
            <a:ln w="28575" cap="rnd">
              <a:solidFill>
                <a:srgbClr val="ED7D31"/>
              </a:solidFill>
              <a:prstDash val="solid"/>
              <a:round/>
            </a:ln>
            <a:effectLst/>
          </c:spPr>
          <c:marker>
            <c:symbol val="none"/>
          </c:marker>
          <c:dLbls>
            <c:dLbl>
              <c:idx val="182"/>
              <c:layout>
                <c:manualLayout>
                  <c:x val="0"/>
                  <c:y val="-9.3250215000767241E-3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0"/>
                <a:lstStyle/>
                <a:p>
                  <a:pPr algn="l">
                    <a:defRPr sz="1200" b="1" i="0" u="none" strike="noStrike" kern="1200" baseline="0">
                      <a:solidFill>
                        <a:srgbClr val="ED7D31"/>
                      </a:solidFill>
                      <a:latin typeface="Calibri" panose="020F0502020204030204" pitchFamily="34" charset="0"/>
                      <a:ea typeface="+mn-ea"/>
                      <a:cs typeface="Calibri" panose="020F0502020204030204" pitchFamily="34" charset="0"/>
                    </a:defRPr>
                  </a:pPr>
                  <a:endParaRPr lang="cs-CZ"/>
                </a:p>
              </c:txPr>
              <c:dLblPos val="r"/>
              <c:showLegendKey val="0"/>
              <c:showVal val="1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4197070572569906"/>
                      <c:h val="4.7324949909640007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3-37CD-4BA3-857E-B86804E5EE02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0"/>
              <a:lstStyle/>
              <a:p>
                <a:pPr algn="l">
                  <a:defRPr sz="1200" b="0" i="0" u="none" strike="noStrike" kern="1200" baseline="0">
                    <a:solidFill>
                      <a:schemeClr val="tx1"/>
                    </a:solidFill>
                    <a:latin typeface="Calibri" panose="020F0502020204030204" pitchFamily="34" charset="0"/>
                    <a:ea typeface="+mn-ea"/>
                    <a:cs typeface="Calibri" panose="020F0502020204030204" pitchFamily="34" charset="0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List1!$B$1:$GB$1</c:f>
              <c:strCache>
                <c:ptCount val="183"/>
                <c:pt idx="0">
                  <c:v>03.09.21</c:v>
                </c:pt>
                <c:pt idx="1">
                  <c:v>04.09.21</c:v>
                </c:pt>
                <c:pt idx="2">
                  <c:v>05.09.21</c:v>
                </c:pt>
                <c:pt idx="3">
                  <c:v>06.09.21</c:v>
                </c:pt>
                <c:pt idx="4">
                  <c:v>07.09.21</c:v>
                </c:pt>
                <c:pt idx="5">
                  <c:v>08.09.21</c:v>
                </c:pt>
                <c:pt idx="6">
                  <c:v>09.09.21</c:v>
                </c:pt>
                <c:pt idx="7">
                  <c:v>10.09.21</c:v>
                </c:pt>
                <c:pt idx="8">
                  <c:v>11.09.21</c:v>
                </c:pt>
                <c:pt idx="9">
                  <c:v>12.09.21</c:v>
                </c:pt>
                <c:pt idx="10">
                  <c:v>13.09.21</c:v>
                </c:pt>
                <c:pt idx="11">
                  <c:v>14.09.21</c:v>
                </c:pt>
                <c:pt idx="12">
                  <c:v>15.09.21</c:v>
                </c:pt>
                <c:pt idx="13">
                  <c:v>16.09.21</c:v>
                </c:pt>
                <c:pt idx="14">
                  <c:v>17.09.21</c:v>
                </c:pt>
                <c:pt idx="15">
                  <c:v>18.09.21</c:v>
                </c:pt>
                <c:pt idx="16">
                  <c:v>19.09.21</c:v>
                </c:pt>
                <c:pt idx="17">
                  <c:v>20.09.21</c:v>
                </c:pt>
                <c:pt idx="18">
                  <c:v>21.09.21</c:v>
                </c:pt>
                <c:pt idx="19">
                  <c:v>22.09.21</c:v>
                </c:pt>
                <c:pt idx="20">
                  <c:v>23.09.21</c:v>
                </c:pt>
                <c:pt idx="21">
                  <c:v>24.09.21</c:v>
                </c:pt>
                <c:pt idx="22">
                  <c:v>25.09.21</c:v>
                </c:pt>
                <c:pt idx="23">
                  <c:v>26.09.21</c:v>
                </c:pt>
                <c:pt idx="24">
                  <c:v>27.09.21</c:v>
                </c:pt>
                <c:pt idx="25">
                  <c:v>28.09.21</c:v>
                </c:pt>
                <c:pt idx="26">
                  <c:v>29.09.21</c:v>
                </c:pt>
                <c:pt idx="27">
                  <c:v>30.09.21</c:v>
                </c:pt>
                <c:pt idx="28">
                  <c:v>01.10.21</c:v>
                </c:pt>
                <c:pt idx="29">
                  <c:v>02.10.21</c:v>
                </c:pt>
                <c:pt idx="30">
                  <c:v>03.10.21</c:v>
                </c:pt>
                <c:pt idx="31">
                  <c:v>04.10.21</c:v>
                </c:pt>
                <c:pt idx="32">
                  <c:v>05.10.21</c:v>
                </c:pt>
                <c:pt idx="33">
                  <c:v>06.10.21</c:v>
                </c:pt>
                <c:pt idx="34">
                  <c:v>07.10.21</c:v>
                </c:pt>
                <c:pt idx="35">
                  <c:v>08.10.21</c:v>
                </c:pt>
                <c:pt idx="36">
                  <c:v>09.10.21</c:v>
                </c:pt>
                <c:pt idx="37">
                  <c:v>10.10.21</c:v>
                </c:pt>
                <c:pt idx="38">
                  <c:v>11.10.21</c:v>
                </c:pt>
                <c:pt idx="39">
                  <c:v>12.10.21</c:v>
                </c:pt>
                <c:pt idx="40">
                  <c:v>13.10.21</c:v>
                </c:pt>
                <c:pt idx="41">
                  <c:v>14.10.21</c:v>
                </c:pt>
                <c:pt idx="42">
                  <c:v>15.10.21</c:v>
                </c:pt>
                <c:pt idx="43">
                  <c:v>16.10.21</c:v>
                </c:pt>
                <c:pt idx="44">
                  <c:v>17.10.21</c:v>
                </c:pt>
                <c:pt idx="45">
                  <c:v>18.10.21</c:v>
                </c:pt>
                <c:pt idx="46">
                  <c:v>19.10.21</c:v>
                </c:pt>
                <c:pt idx="47">
                  <c:v>20.10.21</c:v>
                </c:pt>
                <c:pt idx="48">
                  <c:v>21.10.21</c:v>
                </c:pt>
                <c:pt idx="49">
                  <c:v>22.10.21</c:v>
                </c:pt>
                <c:pt idx="50">
                  <c:v>23.10.21</c:v>
                </c:pt>
                <c:pt idx="51">
                  <c:v>24.10.21</c:v>
                </c:pt>
                <c:pt idx="52">
                  <c:v>25.10.21</c:v>
                </c:pt>
                <c:pt idx="53">
                  <c:v>26.10.21</c:v>
                </c:pt>
                <c:pt idx="54">
                  <c:v>27.10.21</c:v>
                </c:pt>
                <c:pt idx="55">
                  <c:v>28.10.21</c:v>
                </c:pt>
                <c:pt idx="56">
                  <c:v>29.10.21</c:v>
                </c:pt>
                <c:pt idx="57">
                  <c:v>30.10.21</c:v>
                </c:pt>
                <c:pt idx="58">
                  <c:v>31.10.21</c:v>
                </c:pt>
                <c:pt idx="59">
                  <c:v>01.11.21</c:v>
                </c:pt>
                <c:pt idx="60">
                  <c:v>02.11.21</c:v>
                </c:pt>
                <c:pt idx="61">
                  <c:v>03.11.21</c:v>
                </c:pt>
                <c:pt idx="62">
                  <c:v>04.11.21</c:v>
                </c:pt>
                <c:pt idx="63">
                  <c:v>05.11.21</c:v>
                </c:pt>
                <c:pt idx="64">
                  <c:v>06.11.21</c:v>
                </c:pt>
                <c:pt idx="65">
                  <c:v>07.11.21</c:v>
                </c:pt>
                <c:pt idx="66">
                  <c:v>08.11.21</c:v>
                </c:pt>
                <c:pt idx="67">
                  <c:v>09.11.21</c:v>
                </c:pt>
                <c:pt idx="68">
                  <c:v>10.11.21</c:v>
                </c:pt>
                <c:pt idx="69">
                  <c:v>11.11.21</c:v>
                </c:pt>
                <c:pt idx="70">
                  <c:v>12.11.21</c:v>
                </c:pt>
                <c:pt idx="71">
                  <c:v>13.11.21</c:v>
                </c:pt>
                <c:pt idx="72">
                  <c:v>14.11.21</c:v>
                </c:pt>
                <c:pt idx="73">
                  <c:v>15.11.21</c:v>
                </c:pt>
                <c:pt idx="74">
                  <c:v>16.11.21</c:v>
                </c:pt>
                <c:pt idx="75">
                  <c:v>17.11.21</c:v>
                </c:pt>
                <c:pt idx="76">
                  <c:v>18.11.21</c:v>
                </c:pt>
                <c:pt idx="77">
                  <c:v>19.11.21</c:v>
                </c:pt>
                <c:pt idx="78">
                  <c:v>20.11.21</c:v>
                </c:pt>
                <c:pt idx="79">
                  <c:v>21.11.21</c:v>
                </c:pt>
                <c:pt idx="80">
                  <c:v>22.11.21</c:v>
                </c:pt>
                <c:pt idx="81">
                  <c:v>23.11.21</c:v>
                </c:pt>
                <c:pt idx="82">
                  <c:v>24.11.21</c:v>
                </c:pt>
                <c:pt idx="83">
                  <c:v>25.11.21</c:v>
                </c:pt>
                <c:pt idx="84">
                  <c:v>26.11.21</c:v>
                </c:pt>
                <c:pt idx="85">
                  <c:v>27.11.21</c:v>
                </c:pt>
                <c:pt idx="86">
                  <c:v>28.11.21</c:v>
                </c:pt>
                <c:pt idx="87">
                  <c:v>29.11.21</c:v>
                </c:pt>
                <c:pt idx="88">
                  <c:v>30.11.21</c:v>
                </c:pt>
                <c:pt idx="89">
                  <c:v>01.12.21</c:v>
                </c:pt>
                <c:pt idx="90">
                  <c:v>02.12.21</c:v>
                </c:pt>
                <c:pt idx="91">
                  <c:v>03.12.21</c:v>
                </c:pt>
                <c:pt idx="92">
                  <c:v>04.12.21</c:v>
                </c:pt>
                <c:pt idx="93">
                  <c:v>05.12.21</c:v>
                </c:pt>
                <c:pt idx="94">
                  <c:v>06.12.21</c:v>
                </c:pt>
                <c:pt idx="95">
                  <c:v>07.12.21</c:v>
                </c:pt>
                <c:pt idx="96">
                  <c:v>08.12.21</c:v>
                </c:pt>
                <c:pt idx="97">
                  <c:v>09.12.21</c:v>
                </c:pt>
                <c:pt idx="98">
                  <c:v>10.12.21</c:v>
                </c:pt>
                <c:pt idx="99">
                  <c:v>11.12.21</c:v>
                </c:pt>
                <c:pt idx="100">
                  <c:v>12.12.21</c:v>
                </c:pt>
                <c:pt idx="101">
                  <c:v>13.12.21</c:v>
                </c:pt>
                <c:pt idx="102">
                  <c:v>14.12.21</c:v>
                </c:pt>
                <c:pt idx="103">
                  <c:v>15.12.21</c:v>
                </c:pt>
                <c:pt idx="104">
                  <c:v>16.12.21</c:v>
                </c:pt>
                <c:pt idx="105">
                  <c:v>17.12.21</c:v>
                </c:pt>
                <c:pt idx="106">
                  <c:v>18.12.21</c:v>
                </c:pt>
                <c:pt idx="107">
                  <c:v>19.12.21</c:v>
                </c:pt>
                <c:pt idx="108">
                  <c:v>20.12.21</c:v>
                </c:pt>
                <c:pt idx="109">
                  <c:v>21.12.21</c:v>
                </c:pt>
                <c:pt idx="110">
                  <c:v>22.12.21</c:v>
                </c:pt>
                <c:pt idx="111">
                  <c:v>23.12.21</c:v>
                </c:pt>
                <c:pt idx="112">
                  <c:v>24.12.21</c:v>
                </c:pt>
                <c:pt idx="113">
                  <c:v>25.12.21</c:v>
                </c:pt>
                <c:pt idx="114">
                  <c:v>26.12.21</c:v>
                </c:pt>
                <c:pt idx="115">
                  <c:v>27.12.21</c:v>
                </c:pt>
                <c:pt idx="116">
                  <c:v>28.12.21</c:v>
                </c:pt>
                <c:pt idx="117">
                  <c:v>29.12.21</c:v>
                </c:pt>
                <c:pt idx="118">
                  <c:v>30.12.21</c:v>
                </c:pt>
                <c:pt idx="119">
                  <c:v>31.12.21</c:v>
                </c:pt>
                <c:pt idx="120">
                  <c:v>01.01.22</c:v>
                </c:pt>
                <c:pt idx="121">
                  <c:v>02.01.22</c:v>
                </c:pt>
                <c:pt idx="122">
                  <c:v>03.01.22</c:v>
                </c:pt>
                <c:pt idx="123">
                  <c:v>04.01.22</c:v>
                </c:pt>
                <c:pt idx="124">
                  <c:v>05.01.22</c:v>
                </c:pt>
                <c:pt idx="125">
                  <c:v>06.01.22</c:v>
                </c:pt>
                <c:pt idx="126">
                  <c:v>07.01.22</c:v>
                </c:pt>
                <c:pt idx="127">
                  <c:v>08.01.22</c:v>
                </c:pt>
                <c:pt idx="128">
                  <c:v>09.01.22</c:v>
                </c:pt>
                <c:pt idx="129">
                  <c:v>10.01.22</c:v>
                </c:pt>
                <c:pt idx="130">
                  <c:v>11.01.22</c:v>
                </c:pt>
                <c:pt idx="131">
                  <c:v>12.01.22</c:v>
                </c:pt>
                <c:pt idx="132">
                  <c:v>13.01.22</c:v>
                </c:pt>
                <c:pt idx="133">
                  <c:v>14.01.22</c:v>
                </c:pt>
                <c:pt idx="134">
                  <c:v>15.01.22</c:v>
                </c:pt>
                <c:pt idx="135">
                  <c:v>16.01.22</c:v>
                </c:pt>
                <c:pt idx="136">
                  <c:v>17.01.22</c:v>
                </c:pt>
                <c:pt idx="137">
                  <c:v>18.01.22</c:v>
                </c:pt>
                <c:pt idx="138">
                  <c:v>19.01.22</c:v>
                </c:pt>
                <c:pt idx="139">
                  <c:v>20.01.22</c:v>
                </c:pt>
                <c:pt idx="140">
                  <c:v>21.01.22</c:v>
                </c:pt>
                <c:pt idx="141">
                  <c:v>22.01.22</c:v>
                </c:pt>
                <c:pt idx="142">
                  <c:v>23.01.22</c:v>
                </c:pt>
                <c:pt idx="143">
                  <c:v>24.01.22</c:v>
                </c:pt>
                <c:pt idx="144">
                  <c:v>25.01.22</c:v>
                </c:pt>
                <c:pt idx="145">
                  <c:v>26.01.22</c:v>
                </c:pt>
                <c:pt idx="146">
                  <c:v>27.01.22</c:v>
                </c:pt>
                <c:pt idx="147">
                  <c:v>28.01.22</c:v>
                </c:pt>
                <c:pt idx="148">
                  <c:v>29.01.22</c:v>
                </c:pt>
                <c:pt idx="149">
                  <c:v>30.01.22</c:v>
                </c:pt>
                <c:pt idx="150">
                  <c:v>31.01.22</c:v>
                </c:pt>
                <c:pt idx="151">
                  <c:v>01.02.22</c:v>
                </c:pt>
                <c:pt idx="152">
                  <c:v>02.02.22</c:v>
                </c:pt>
                <c:pt idx="153">
                  <c:v>03.02.22</c:v>
                </c:pt>
                <c:pt idx="154">
                  <c:v>04.02.22</c:v>
                </c:pt>
                <c:pt idx="155">
                  <c:v>05.02.22</c:v>
                </c:pt>
                <c:pt idx="156">
                  <c:v>06.02.22</c:v>
                </c:pt>
                <c:pt idx="157">
                  <c:v>07.02.22</c:v>
                </c:pt>
                <c:pt idx="158">
                  <c:v>08.02.22</c:v>
                </c:pt>
                <c:pt idx="159">
                  <c:v>09.02.22</c:v>
                </c:pt>
                <c:pt idx="160">
                  <c:v>10.02.22</c:v>
                </c:pt>
                <c:pt idx="161">
                  <c:v>11.02.22</c:v>
                </c:pt>
                <c:pt idx="162">
                  <c:v>12.02.22</c:v>
                </c:pt>
                <c:pt idx="163">
                  <c:v>13.02.22</c:v>
                </c:pt>
                <c:pt idx="164">
                  <c:v>14.02.22</c:v>
                </c:pt>
                <c:pt idx="165">
                  <c:v>15.02.22</c:v>
                </c:pt>
                <c:pt idx="166">
                  <c:v>16.02.22</c:v>
                </c:pt>
                <c:pt idx="167">
                  <c:v>17.02.22</c:v>
                </c:pt>
                <c:pt idx="168">
                  <c:v>18.02.22</c:v>
                </c:pt>
                <c:pt idx="169">
                  <c:v>19.02.22</c:v>
                </c:pt>
                <c:pt idx="170">
                  <c:v>20.02.22</c:v>
                </c:pt>
                <c:pt idx="171">
                  <c:v>21.02.22</c:v>
                </c:pt>
                <c:pt idx="172">
                  <c:v>22.02.22</c:v>
                </c:pt>
                <c:pt idx="173">
                  <c:v>23.02.22</c:v>
                </c:pt>
                <c:pt idx="174">
                  <c:v>24.02.22</c:v>
                </c:pt>
                <c:pt idx="175">
                  <c:v>25.02.22</c:v>
                </c:pt>
                <c:pt idx="176">
                  <c:v>26.02.22</c:v>
                </c:pt>
                <c:pt idx="177">
                  <c:v>27.02.22</c:v>
                </c:pt>
                <c:pt idx="178">
                  <c:v>28.02.22</c:v>
                </c:pt>
                <c:pt idx="179">
                  <c:v>01.03.22</c:v>
                </c:pt>
                <c:pt idx="180">
                  <c:v>02.03.22</c:v>
                </c:pt>
                <c:pt idx="181">
                  <c:v>03.03.22</c:v>
                </c:pt>
                <c:pt idx="182">
                  <c:v>04.03.22</c:v>
                </c:pt>
              </c:strCache>
            </c:strRef>
          </c:cat>
          <c:val>
            <c:numRef>
              <c:f>List1!$B$3:$GB$3</c:f>
              <c:numCache>
                <c:formatCode>General</c:formatCode>
                <c:ptCount val="183"/>
                <c:pt idx="0">
                  <c:v>130</c:v>
                </c:pt>
                <c:pt idx="1">
                  <c:v>131</c:v>
                </c:pt>
                <c:pt idx="2">
                  <c:v>129</c:v>
                </c:pt>
                <c:pt idx="3">
                  <c:v>127</c:v>
                </c:pt>
                <c:pt idx="4">
                  <c:v>133</c:v>
                </c:pt>
                <c:pt idx="5">
                  <c:v>133</c:v>
                </c:pt>
                <c:pt idx="6">
                  <c:v>135</c:v>
                </c:pt>
                <c:pt idx="7">
                  <c:v>135</c:v>
                </c:pt>
                <c:pt idx="8">
                  <c:v>134</c:v>
                </c:pt>
                <c:pt idx="9">
                  <c:v>135</c:v>
                </c:pt>
                <c:pt idx="10">
                  <c:v>136</c:v>
                </c:pt>
                <c:pt idx="11">
                  <c:v>139</c:v>
                </c:pt>
                <c:pt idx="12">
                  <c:v>141</c:v>
                </c:pt>
                <c:pt idx="13">
                  <c:v>143</c:v>
                </c:pt>
                <c:pt idx="14">
                  <c:v>141</c:v>
                </c:pt>
                <c:pt idx="15">
                  <c:v>143</c:v>
                </c:pt>
                <c:pt idx="16">
                  <c:v>144</c:v>
                </c:pt>
                <c:pt idx="17">
                  <c:v>149</c:v>
                </c:pt>
                <c:pt idx="18">
                  <c:v>151</c:v>
                </c:pt>
                <c:pt idx="19">
                  <c:v>155</c:v>
                </c:pt>
                <c:pt idx="20">
                  <c:v>158</c:v>
                </c:pt>
                <c:pt idx="21">
                  <c:v>165</c:v>
                </c:pt>
                <c:pt idx="22">
                  <c:v>171</c:v>
                </c:pt>
                <c:pt idx="23">
                  <c:v>173</c:v>
                </c:pt>
                <c:pt idx="24">
                  <c:v>174</c:v>
                </c:pt>
                <c:pt idx="25">
                  <c:v>179</c:v>
                </c:pt>
                <c:pt idx="26">
                  <c:v>185</c:v>
                </c:pt>
                <c:pt idx="27">
                  <c:v>194</c:v>
                </c:pt>
                <c:pt idx="28">
                  <c:v>196</c:v>
                </c:pt>
                <c:pt idx="29">
                  <c:v>197</c:v>
                </c:pt>
                <c:pt idx="30">
                  <c:v>204</c:v>
                </c:pt>
                <c:pt idx="31">
                  <c:v>203</c:v>
                </c:pt>
                <c:pt idx="32">
                  <c:v>212</c:v>
                </c:pt>
                <c:pt idx="33">
                  <c:v>216</c:v>
                </c:pt>
                <c:pt idx="34">
                  <c:v>218</c:v>
                </c:pt>
                <c:pt idx="35">
                  <c:v>219</c:v>
                </c:pt>
                <c:pt idx="36">
                  <c:v>219</c:v>
                </c:pt>
                <c:pt idx="37">
                  <c:v>217</c:v>
                </c:pt>
                <c:pt idx="38">
                  <c:v>228</c:v>
                </c:pt>
                <c:pt idx="39">
                  <c:v>240</c:v>
                </c:pt>
                <c:pt idx="40">
                  <c:v>241</c:v>
                </c:pt>
                <c:pt idx="41">
                  <c:v>251</c:v>
                </c:pt>
                <c:pt idx="42">
                  <c:v>261</c:v>
                </c:pt>
                <c:pt idx="43">
                  <c:v>266</c:v>
                </c:pt>
                <c:pt idx="44">
                  <c:v>269</c:v>
                </c:pt>
                <c:pt idx="45">
                  <c:v>291</c:v>
                </c:pt>
                <c:pt idx="46">
                  <c:v>301</c:v>
                </c:pt>
                <c:pt idx="47">
                  <c:v>319</c:v>
                </c:pt>
                <c:pt idx="48">
                  <c:v>358</c:v>
                </c:pt>
                <c:pt idx="49">
                  <c:v>385</c:v>
                </c:pt>
                <c:pt idx="50">
                  <c:v>414</c:v>
                </c:pt>
                <c:pt idx="51">
                  <c:v>418</c:v>
                </c:pt>
                <c:pt idx="52">
                  <c:v>461</c:v>
                </c:pt>
                <c:pt idx="53">
                  <c:v>507</c:v>
                </c:pt>
                <c:pt idx="54">
                  <c:v>556</c:v>
                </c:pt>
                <c:pt idx="55">
                  <c:v>569</c:v>
                </c:pt>
                <c:pt idx="56">
                  <c:v>629</c:v>
                </c:pt>
                <c:pt idx="57">
                  <c:v>675</c:v>
                </c:pt>
                <c:pt idx="58">
                  <c:v>702</c:v>
                </c:pt>
                <c:pt idx="59">
                  <c:v>763</c:v>
                </c:pt>
                <c:pt idx="60">
                  <c:v>844</c:v>
                </c:pt>
                <c:pt idx="61">
                  <c:v>916</c:v>
                </c:pt>
                <c:pt idx="62">
                  <c:v>960</c:v>
                </c:pt>
                <c:pt idx="63">
                  <c:v>1031</c:v>
                </c:pt>
                <c:pt idx="64">
                  <c:v>1087</c:v>
                </c:pt>
                <c:pt idx="65">
                  <c:v>1088</c:v>
                </c:pt>
                <c:pt idx="66">
                  <c:v>1129</c:v>
                </c:pt>
                <c:pt idx="67">
                  <c:v>1207</c:v>
                </c:pt>
                <c:pt idx="68">
                  <c:v>1309</c:v>
                </c:pt>
                <c:pt idx="69">
                  <c:v>1366</c:v>
                </c:pt>
                <c:pt idx="70">
                  <c:v>1435</c:v>
                </c:pt>
                <c:pt idx="71">
                  <c:v>1473</c:v>
                </c:pt>
                <c:pt idx="72">
                  <c:v>1481</c:v>
                </c:pt>
                <c:pt idx="73">
                  <c:v>1513</c:v>
                </c:pt>
                <c:pt idx="74">
                  <c:v>1625</c:v>
                </c:pt>
                <c:pt idx="75">
                  <c:v>1628</c:v>
                </c:pt>
                <c:pt idx="76">
                  <c:v>1686</c:v>
                </c:pt>
                <c:pt idx="77">
                  <c:v>1783</c:v>
                </c:pt>
                <c:pt idx="78">
                  <c:v>1880</c:v>
                </c:pt>
                <c:pt idx="79">
                  <c:v>1925</c:v>
                </c:pt>
                <c:pt idx="80">
                  <c:v>1936</c:v>
                </c:pt>
                <c:pt idx="81">
                  <c:v>2040</c:v>
                </c:pt>
                <c:pt idx="82">
                  <c:v>2025</c:v>
                </c:pt>
                <c:pt idx="83">
                  <c:v>2111</c:v>
                </c:pt>
                <c:pt idx="84">
                  <c:v>2141</c:v>
                </c:pt>
                <c:pt idx="85">
                  <c:v>2178</c:v>
                </c:pt>
                <c:pt idx="86">
                  <c:v>2203</c:v>
                </c:pt>
                <c:pt idx="87">
                  <c:v>2164</c:v>
                </c:pt>
                <c:pt idx="88">
                  <c:v>2139</c:v>
                </c:pt>
                <c:pt idx="89">
                  <c:v>2224</c:v>
                </c:pt>
                <c:pt idx="90">
                  <c:v>2148</c:v>
                </c:pt>
                <c:pt idx="91">
                  <c:v>2048</c:v>
                </c:pt>
                <c:pt idx="92">
                  <c:v>2051</c:v>
                </c:pt>
                <c:pt idx="93">
                  <c:v>2036</c:v>
                </c:pt>
                <c:pt idx="94">
                  <c:v>1900</c:v>
                </c:pt>
                <c:pt idx="95">
                  <c:v>1852</c:v>
                </c:pt>
                <c:pt idx="96">
                  <c:v>1799</c:v>
                </c:pt>
                <c:pt idx="97">
                  <c:v>1767</c:v>
                </c:pt>
                <c:pt idx="98">
                  <c:v>1704</c:v>
                </c:pt>
                <c:pt idx="99">
                  <c:v>1702</c:v>
                </c:pt>
                <c:pt idx="100">
                  <c:v>1689</c:v>
                </c:pt>
                <c:pt idx="101">
                  <c:v>1543</c:v>
                </c:pt>
                <c:pt idx="102">
                  <c:v>1514</c:v>
                </c:pt>
                <c:pt idx="103">
                  <c:v>1452</c:v>
                </c:pt>
                <c:pt idx="104">
                  <c:v>1386</c:v>
                </c:pt>
                <c:pt idx="105">
                  <c:v>1328</c:v>
                </c:pt>
                <c:pt idx="106">
                  <c:v>1315</c:v>
                </c:pt>
                <c:pt idx="107">
                  <c:v>1282</c:v>
                </c:pt>
                <c:pt idx="108">
                  <c:v>1175</c:v>
                </c:pt>
                <c:pt idx="109">
                  <c:v>1122</c:v>
                </c:pt>
                <c:pt idx="110">
                  <c:v>1073</c:v>
                </c:pt>
                <c:pt idx="111">
                  <c:v>1033</c:v>
                </c:pt>
                <c:pt idx="112">
                  <c:v>940</c:v>
                </c:pt>
                <c:pt idx="113">
                  <c:v>907</c:v>
                </c:pt>
                <c:pt idx="114">
                  <c:v>869</c:v>
                </c:pt>
                <c:pt idx="115">
                  <c:v>807</c:v>
                </c:pt>
                <c:pt idx="116">
                  <c:v>809</c:v>
                </c:pt>
                <c:pt idx="117">
                  <c:v>791</c:v>
                </c:pt>
                <c:pt idx="118">
                  <c:v>765</c:v>
                </c:pt>
                <c:pt idx="119">
                  <c:v>744</c:v>
                </c:pt>
                <c:pt idx="120">
                  <c:v>723</c:v>
                </c:pt>
                <c:pt idx="121">
                  <c:v>718</c:v>
                </c:pt>
                <c:pt idx="122">
                  <c:v>698</c:v>
                </c:pt>
                <c:pt idx="123">
                  <c:v>712</c:v>
                </c:pt>
                <c:pt idx="124">
                  <c:v>700</c:v>
                </c:pt>
                <c:pt idx="125">
                  <c:v>708</c:v>
                </c:pt>
                <c:pt idx="126">
                  <c:v>751</c:v>
                </c:pt>
                <c:pt idx="127">
                  <c:v>766</c:v>
                </c:pt>
                <c:pt idx="128">
                  <c:v>760</c:v>
                </c:pt>
                <c:pt idx="129">
                  <c:v>722</c:v>
                </c:pt>
                <c:pt idx="130">
                  <c:v>746</c:v>
                </c:pt>
                <c:pt idx="131">
                  <c:v>777</c:v>
                </c:pt>
                <c:pt idx="132">
                  <c:v>811</c:v>
                </c:pt>
                <c:pt idx="133">
                  <c:v>855</c:v>
                </c:pt>
                <c:pt idx="134">
                  <c:v>913</c:v>
                </c:pt>
                <c:pt idx="135">
                  <c:v>911</c:v>
                </c:pt>
                <c:pt idx="136">
                  <c:v>998</c:v>
                </c:pt>
                <c:pt idx="137">
                  <c:v>1140</c:v>
                </c:pt>
                <c:pt idx="138">
                  <c:v>1287</c:v>
                </c:pt>
                <c:pt idx="139">
                  <c:v>1426</c:v>
                </c:pt>
                <c:pt idx="140">
                  <c:v>1541</c:v>
                </c:pt>
                <c:pt idx="141">
                  <c:v>1568</c:v>
                </c:pt>
                <c:pt idx="142">
                  <c:v>1589</c:v>
                </c:pt>
                <c:pt idx="143">
                  <c:v>1747</c:v>
                </c:pt>
                <c:pt idx="144">
                  <c:v>2016</c:v>
                </c:pt>
                <c:pt idx="145">
                  <c:v>2358</c:v>
                </c:pt>
                <c:pt idx="146">
                  <c:v>2474</c:v>
                </c:pt>
                <c:pt idx="147">
                  <c:v>2706</c:v>
                </c:pt>
                <c:pt idx="148">
                  <c:v>2664</c:v>
                </c:pt>
                <c:pt idx="149">
                  <c:v>2676</c:v>
                </c:pt>
                <c:pt idx="150">
                  <c:v>2897</c:v>
                </c:pt>
                <c:pt idx="151">
                  <c:v>3265</c:v>
                </c:pt>
                <c:pt idx="152">
                  <c:v>3526</c:v>
                </c:pt>
                <c:pt idx="153">
                  <c:v>3466</c:v>
                </c:pt>
                <c:pt idx="154">
                  <c:v>3383</c:v>
                </c:pt>
                <c:pt idx="155">
                  <c:v>3218</c:v>
                </c:pt>
                <c:pt idx="156">
                  <c:v>2998</c:v>
                </c:pt>
                <c:pt idx="157">
                  <c:v>3054</c:v>
                </c:pt>
                <c:pt idx="158">
                  <c:v>3270</c:v>
                </c:pt>
                <c:pt idx="159">
                  <c:v>3372</c:v>
                </c:pt>
                <c:pt idx="160">
                  <c:v>3067</c:v>
                </c:pt>
                <c:pt idx="161">
                  <c:v>2873</c:v>
                </c:pt>
                <c:pt idx="162">
                  <c:v>2656</c:v>
                </c:pt>
                <c:pt idx="163">
                  <c:v>2414</c:v>
                </c:pt>
                <c:pt idx="164">
                  <c:v>2400</c:v>
                </c:pt>
                <c:pt idx="165">
                  <c:v>2549</c:v>
                </c:pt>
                <c:pt idx="166">
                  <c:v>2633</c:v>
                </c:pt>
                <c:pt idx="167">
                  <c:v>2306</c:v>
                </c:pt>
                <c:pt idx="168">
                  <c:v>2184</c:v>
                </c:pt>
                <c:pt idx="169">
                  <c:v>1982</c:v>
                </c:pt>
                <c:pt idx="170">
                  <c:v>1790</c:v>
                </c:pt>
                <c:pt idx="171">
                  <c:v>1779</c:v>
                </c:pt>
                <c:pt idx="172">
                  <c:v>1811</c:v>
                </c:pt>
                <c:pt idx="173">
                  <c:v>1803</c:v>
                </c:pt>
                <c:pt idx="174">
                  <c:v>1568</c:v>
                </c:pt>
                <c:pt idx="175">
                  <c:v>1429</c:v>
                </c:pt>
                <c:pt idx="176">
                  <c:v>1290</c:v>
                </c:pt>
                <c:pt idx="177">
                  <c:v>1151</c:v>
                </c:pt>
                <c:pt idx="178">
                  <c:v>1128</c:v>
                </c:pt>
                <c:pt idx="179">
                  <c:v>1206</c:v>
                </c:pt>
                <c:pt idx="180">
                  <c:v>1238</c:v>
                </c:pt>
                <c:pt idx="181">
                  <c:v>1088</c:v>
                </c:pt>
                <c:pt idx="182">
                  <c:v>108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37CD-4BA3-857E-B86804E5EE02}"/>
            </c:ext>
          </c:extLst>
        </c:ser>
        <c:ser>
          <c:idx val="2"/>
          <c:order val="2"/>
          <c:tx>
            <c:strRef>
              <c:f>List1!$A$4</c:f>
              <c:strCache>
                <c:ptCount val="1"/>
                <c:pt idx="0">
                  <c:v>Ostatní zdravotničtí pracovníci</c:v>
                </c:pt>
              </c:strCache>
            </c:strRef>
          </c:tx>
          <c:spPr>
            <a:ln w="28575" cap="rnd">
              <a:solidFill>
                <a:schemeClr val="bg1">
                  <a:lumMod val="65000"/>
                </a:schemeClr>
              </a:solidFill>
              <a:prstDash val="solid"/>
              <a:round/>
            </a:ln>
            <a:effectLst/>
          </c:spPr>
          <c:marker>
            <c:symbol val="none"/>
          </c:marker>
          <c:dLbls>
            <c:dLbl>
              <c:idx val="182"/>
              <c:layout>
                <c:manualLayout>
                  <c:x val="-1.3019527064393282E-16"/>
                  <c:y val="1.3987761706642498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0"/>
                <a:lstStyle/>
                <a:p>
                  <a:pPr algn="l">
                    <a:defRPr sz="1200" b="1" i="0" u="none" strike="noStrike" kern="1200" baseline="0">
                      <a:solidFill>
                        <a:schemeClr val="bg1">
                          <a:lumMod val="50000"/>
                        </a:schemeClr>
                      </a:solidFill>
                      <a:latin typeface="Calibri" panose="020F0502020204030204" pitchFamily="34" charset="0"/>
                      <a:ea typeface="+mn-ea"/>
                      <a:cs typeface="Calibri" panose="020F0502020204030204" pitchFamily="34" charset="0"/>
                    </a:defRPr>
                  </a:pPr>
                  <a:endParaRPr lang="cs-CZ"/>
                </a:p>
              </c:txPr>
              <c:dLblPos val="r"/>
              <c:showLegendKey val="0"/>
              <c:showVal val="1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4601304996662368"/>
                      <c:h val="7.5300289757703073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6-37CD-4BA3-857E-B86804E5EE02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bg1">
                        <a:lumMod val="50000"/>
                      </a:schemeClr>
                    </a:solidFill>
                    <a:latin typeface="Calibri" panose="020F0502020204030204" pitchFamily="34" charset="0"/>
                    <a:ea typeface="+mn-ea"/>
                    <a:cs typeface="Calibri" panose="020F0502020204030204" pitchFamily="34" charset="0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GB$1</c:f>
              <c:strCache>
                <c:ptCount val="183"/>
                <c:pt idx="0">
                  <c:v>03.09.21</c:v>
                </c:pt>
                <c:pt idx="1">
                  <c:v>04.09.21</c:v>
                </c:pt>
                <c:pt idx="2">
                  <c:v>05.09.21</c:v>
                </c:pt>
                <c:pt idx="3">
                  <c:v>06.09.21</c:v>
                </c:pt>
                <c:pt idx="4">
                  <c:v>07.09.21</c:v>
                </c:pt>
                <c:pt idx="5">
                  <c:v>08.09.21</c:v>
                </c:pt>
                <c:pt idx="6">
                  <c:v>09.09.21</c:v>
                </c:pt>
                <c:pt idx="7">
                  <c:v>10.09.21</c:v>
                </c:pt>
                <c:pt idx="8">
                  <c:v>11.09.21</c:v>
                </c:pt>
                <c:pt idx="9">
                  <c:v>12.09.21</c:v>
                </c:pt>
                <c:pt idx="10">
                  <c:v>13.09.21</c:v>
                </c:pt>
                <c:pt idx="11">
                  <c:v>14.09.21</c:v>
                </c:pt>
                <c:pt idx="12">
                  <c:v>15.09.21</c:v>
                </c:pt>
                <c:pt idx="13">
                  <c:v>16.09.21</c:v>
                </c:pt>
                <c:pt idx="14">
                  <c:v>17.09.21</c:v>
                </c:pt>
                <c:pt idx="15">
                  <c:v>18.09.21</c:v>
                </c:pt>
                <c:pt idx="16">
                  <c:v>19.09.21</c:v>
                </c:pt>
                <c:pt idx="17">
                  <c:v>20.09.21</c:v>
                </c:pt>
                <c:pt idx="18">
                  <c:v>21.09.21</c:v>
                </c:pt>
                <c:pt idx="19">
                  <c:v>22.09.21</c:v>
                </c:pt>
                <c:pt idx="20">
                  <c:v>23.09.21</c:v>
                </c:pt>
                <c:pt idx="21">
                  <c:v>24.09.21</c:v>
                </c:pt>
                <c:pt idx="22">
                  <c:v>25.09.21</c:v>
                </c:pt>
                <c:pt idx="23">
                  <c:v>26.09.21</c:v>
                </c:pt>
                <c:pt idx="24">
                  <c:v>27.09.21</c:v>
                </c:pt>
                <c:pt idx="25">
                  <c:v>28.09.21</c:v>
                </c:pt>
                <c:pt idx="26">
                  <c:v>29.09.21</c:v>
                </c:pt>
                <c:pt idx="27">
                  <c:v>30.09.21</c:v>
                </c:pt>
                <c:pt idx="28">
                  <c:v>01.10.21</c:v>
                </c:pt>
                <c:pt idx="29">
                  <c:v>02.10.21</c:v>
                </c:pt>
                <c:pt idx="30">
                  <c:v>03.10.21</c:v>
                </c:pt>
                <c:pt idx="31">
                  <c:v>04.10.21</c:v>
                </c:pt>
                <c:pt idx="32">
                  <c:v>05.10.21</c:v>
                </c:pt>
                <c:pt idx="33">
                  <c:v>06.10.21</c:v>
                </c:pt>
                <c:pt idx="34">
                  <c:v>07.10.21</c:v>
                </c:pt>
                <c:pt idx="35">
                  <c:v>08.10.21</c:v>
                </c:pt>
                <c:pt idx="36">
                  <c:v>09.10.21</c:v>
                </c:pt>
                <c:pt idx="37">
                  <c:v>10.10.21</c:v>
                </c:pt>
                <c:pt idx="38">
                  <c:v>11.10.21</c:v>
                </c:pt>
                <c:pt idx="39">
                  <c:v>12.10.21</c:v>
                </c:pt>
                <c:pt idx="40">
                  <c:v>13.10.21</c:v>
                </c:pt>
                <c:pt idx="41">
                  <c:v>14.10.21</c:v>
                </c:pt>
                <c:pt idx="42">
                  <c:v>15.10.21</c:v>
                </c:pt>
                <c:pt idx="43">
                  <c:v>16.10.21</c:v>
                </c:pt>
                <c:pt idx="44">
                  <c:v>17.10.21</c:v>
                </c:pt>
                <c:pt idx="45">
                  <c:v>18.10.21</c:v>
                </c:pt>
                <c:pt idx="46">
                  <c:v>19.10.21</c:v>
                </c:pt>
                <c:pt idx="47">
                  <c:v>20.10.21</c:v>
                </c:pt>
                <c:pt idx="48">
                  <c:v>21.10.21</c:v>
                </c:pt>
                <c:pt idx="49">
                  <c:v>22.10.21</c:v>
                </c:pt>
                <c:pt idx="50">
                  <c:v>23.10.21</c:v>
                </c:pt>
                <c:pt idx="51">
                  <c:v>24.10.21</c:v>
                </c:pt>
                <c:pt idx="52">
                  <c:v>25.10.21</c:v>
                </c:pt>
                <c:pt idx="53">
                  <c:v>26.10.21</c:v>
                </c:pt>
                <c:pt idx="54">
                  <c:v>27.10.21</c:v>
                </c:pt>
                <c:pt idx="55">
                  <c:v>28.10.21</c:v>
                </c:pt>
                <c:pt idx="56">
                  <c:v>29.10.21</c:v>
                </c:pt>
                <c:pt idx="57">
                  <c:v>30.10.21</c:v>
                </c:pt>
                <c:pt idx="58">
                  <c:v>31.10.21</c:v>
                </c:pt>
                <c:pt idx="59">
                  <c:v>01.11.21</c:v>
                </c:pt>
                <c:pt idx="60">
                  <c:v>02.11.21</c:v>
                </c:pt>
                <c:pt idx="61">
                  <c:v>03.11.21</c:v>
                </c:pt>
                <c:pt idx="62">
                  <c:v>04.11.21</c:v>
                </c:pt>
                <c:pt idx="63">
                  <c:v>05.11.21</c:v>
                </c:pt>
                <c:pt idx="64">
                  <c:v>06.11.21</c:v>
                </c:pt>
                <c:pt idx="65">
                  <c:v>07.11.21</c:v>
                </c:pt>
                <c:pt idx="66">
                  <c:v>08.11.21</c:v>
                </c:pt>
                <c:pt idx="67">
                  <c:v>09.11.21</c:v>
                </c:pt>
                <c:pt idx="68">
                  <c:v>10.11.21</c:v>
                </c:pt>
                <c:pt idx="69">
                  <c:v>11.11.21</c:v>
                </c:pt>
                <c:pt idx="70">
                  <c:v>12.11.21</c:v>
                </c:pt>
                <c:pt idx="71">
                  <c:v>13.11.21</c:v>
                </c:pt>
                <c:pt idx="72">
                  <c:v>14.11.21</c:v>
                </c:pt>
                <c:pt idx="73">
                  <c:v>15.11.21</c:v>
                </c:pt>
                <c:pt idx="74">
                  <c:v>16.11.21</c:v>
                </c:pt>
                <c:pt idx="75">
                  <c:v>17.11.21</c:v>
                </c:pt>
                <c:pt idx="76">
                  <c:v>18.11.21</c:v>
                </c:pt>
                <c:pt idx="77">
                  <c:v>19.11.21</c:v>
                </c:pt>
                <c:pt idx="78">
                  <c:v>20.11.21</c:v>
                </c:pt>
                <c:pt idx="79">
                  <c:v>21.11.21</c:v>
                </c:pt>
                <c:pt idx="80">
                  <c:v>22.11.21</c:v>
                </c:pt>
                <c:pt idx="81">
                  <c:v>23.11.21</c:v>
                </c:pt>
                <c:pt idx="82">
                  <c:v>24.11.21</c:v>
                </c:pt>
                <c:pt idx="83">
                  <c:v>25.11.21</c:v>
                </c:pt>
                <c:pt idx="84">
                  <c:v>26.11.21</c:v>
                </c:pt>
                <c:pt idx="85">
                  <c:v>27.11.21</c:v>
                </c:pt>
                <c:pt idx="86">
                  <c:v>28.11.21</c:v>
                </c:pt>
                <c:pt idx="87">
                  <c:v>29.11.21</c:v>
                </c:pt>
                <c:pt idx="88">
                  <c:v>30.11.21</c:v>
                </c:pt>
                <c:pt idx="89">
                  <c:v>01.12.21</c:v>
                </c:pt>
                <c:pt idx="90">
                  <c:v>02.12.21</c:v>
                </c:pt>
                <c:pt idx="91">
                  <c:v>03.12.21</c:v>
                </c:pt>
                <c:pt idx="92">
                  <c:v>04.12.21</c:v>
                </c:pt>
                <c:pt idx="93">
                  <c:v>05.12.21</c:v>
                </c:pt>
                <c:pt idx="94">
                  <c:v>06.12.21</c:v>
                </c:pt>
                <c:pt idx="95">
                  <c:v>07.12.21</c:v>
                </c:pt>
                <c:pt idx="96">
                  <c:v>08.12.21</c:v>
                </c:pt>
                <c:pt idx="97">
                  <c:v>09.12.21</c:v>
                </c:pt>
                <c:pt idx="98">
                  <c:v>10.12.21</c:v>
                </c:pt>
                <c:pt idx="99">
                  <c:v>11.12.21</c:v>
                </c:pt>
                <c:pt idx="100">
                  <c:v>12.12.21</c:v>
                </c:pt>
                <c:pt idx="101">
                  <c:v>13.12.21</c:v>
                </c:pt>
                <c:pt idx="102">
                  <c:v>14.12.21</c:v>
                </c:pt>
                <c:pt idx="103">
                  <c:v>15.12.21</c:v>
                </c:pt>
                <c:pt idx="104">
                  <c:v>16.12.21</c:v>
                </c:pt>
                <c:pt idx="105">
                  <c:v>17.12.21</c:v>
                </c:pt>
                <c:pt idx="106">
                  <c:v>18.12.21</c:v>
                </c:pt>
                <c:pt idx="107">
                  <c:v>19.12.21</c:v>
                </c:pt>
                <c:pt idx="108">
                  <c:v>20.12.21</c:v>
                </c:pt>
                <c:pt idx="109">
                  <c:v>21.12.21</c:v>
                </c:pt>
                <c:pt idx="110">
                  <c:v>22.12.21</c:v>
                </c:pt>
                <c:pt idx="111">
                  <c:v>23.12.21</c:v>
                </c:pt>
                <c:pt idx="112">
                  <c:v>24.12.21</c:v>
                </c:pt>
                <c:pt idx="113">
                  <c:v>25.12.21</c:v>
                </c:pt>
                <c:pt idx="114">
                  <c:v>26.12.21</c:v>
                </c:pt>
                <c:pt idx="115">
                  <c:v>27.12.21</c:v>
                </c:pt>
                <c:pt idx="116">
                  <c:v>28.12.21</c:v>
                </c:pt>
                <c:pt idx="117">
                  <c:v>29.12.21</c:v>
                </c:pt>
                <c:pt idx="118">
                  <c:v>30.12.21</c:v>
                </c:pt>
                <c:pt idx="119">
                  <c:v>31.12.21</c:v>
                </c:pt>
                <c:pt idx="120">
                  <c:v>01.01.22</c:v>
                </c:pt>
                <c:pt idx="121">
                  <c:v>02.01.22</c:v>
                </c:pt>
                <c:pt idx="122">
                  <c:v>03.01.22</c:v>
                </c:pt>
                <c:pt idx="123">
                  <c:v>04.01.22</c:v>
                </c:pt>
                <c:pt idx="124">
                  <c:v>05.01.22</c:v>
                </c:pt>
                <c:pt idx="125">
                  <c:v>06.01.22</c:v>
                </c:pt>
                <c:pt idx="126">
                  <c:v>07.01.22</c:v>
                </c:pt>
                <c:pt idx="127">
                  <c:v>08.01.22</c:v>
                </c:pt>
                <c:pt idx="128">
                  <c:v>09.01.22</c:v>
                </c:pt>
                <c:pt idx="129">
                  <c:v>10.01.22</c:v>
                </c:pt>
                <c:pt idx="130">
                  <c:v>11.01.22</c:v>
                </c:pt>
                <c:pt idx="131">
                  <c:v>12.01.22</c:v>
                </c:pt>
                <c:pt idx="132">
                  <c:v>13.01.22</c:v>
                </c:pt>
                <c:pt idx="133">
                  <c:v>14.01.22</c:v>
                </c:pt>
                <c:pt idx="134">
                  <c:v>15.01.22</c:v>
                </c:pt>
                <c:pt idx="135">
                  <c:v>16.01.22</c:v>
                </c:pt>
                <c:pt idx="136">
                  <c:v>17.01.22</c:v>
                </c:pt>
                <c:pt idx="137">
                  <c:v>18.01.22</c:v>
                </c:pt>
                <c:pt idx="138">
                  <c:v>19.01.22</c:v>
                </c:pt>
                <c:pt idx="139">
                  <c:v>20.01.22</c:v>
                </c:pt>
                <c:pt idx="140">
                  <c:v>21.01.22</c:v>
                </c:pt>
                <c:pt idx="141">
                  <c:v>22.01.22</c:v>
                </c:pt>
                <c:pt idx="142">
                  <c:v>23.01.22</c:v>
                </c:pt>
                <c:pt idx="143">
                  <c:v>24.01.22</c:v>
                </c:pt>
                <c:pt idx="144">
                  <c:v>25.01.22</c:v>
                </c:pt>
                <c:pt idx="145">
                  <c:v>26.01.22</c:v>
                </c:pt>
                <c:pt idx="146">
                  <c:v>27.01.22</c:v>
                </c:pt>
                <c:pt idx="147">
                  <c:v>28.01.22</c:v>
                </c:pt>
                <c:pt idx="148">
                  <c:v>29.01.22</c:v>
                </c:pt>
                <c:pt idx="149">
                  <c:v>30.01.22</c:v>
                </c:pt>
                <c:pt idx="150">
                  <c:v>31.01.22</c:v>
                </c:pt>
                <c:pt idx="151">
                  <c:v>01.02.22</c:v>
                </c:pt>
                <c:pt idx="152">
                  <c:v>02.02.22</c:v>
                </c:pt>
                <c:pt idx="153">
                  <c:v>03.02.22</c:v>
                </c:pt>
                <c:pt idx="154">
                  <c:v>04.02.22</c:v>
                </c:pt>
                <c:pt idx="155">
                  <c:v>05.02.22</c:v>
                </c:pt>
                <c:pt idx="156">
                  <c:v>06.02.22</c:v>
                </c:pt>
                <c:pt idx="157">
                  <c:v>07.02.22</c:v>
                </c:pt>
                <c:pt idx="158">
                  <c:v>08.02.22</c:v>
                </c:pt>
                <c:pt idx="159">
                  <c:v>09.02.22</c:v>
                </c:pt>
                <c:pt idx="160">
                  <c:v>10.02.22</c:v>
                </c:pt>
                <c:pt idx="161">
                  <c:v>11.02.22</c:v>
                </c:pt>
                <c:pt idx="162">
                  <c:v>12.02.22</c:v>
                </c:pt>
                <c:pt idx="163">
                  <c:v>13.02.22</c:v>
                </c:pt>
                <c:pt idx="164">
                  <c:v>14.02.22</c:v>
                </c:pt>
                <c:pt idx="165">
                  <c:v>15.02.22</c:v>
                </c:pt>
                <c:pt idx="166">
                  <c:v>16.02.22</c:v>
                </c:pt>
                <c:pt idx="167">
                  <c:v>17.02.22</c:v>
                </c:pt>
                <c:pt idx="168">
                  <c:v>18.02.22</c:v>
                </c:pt>
                <c:pt idx="169">
                  <c:v>19.02.22</c:v>
                </c:pt>
                <c:pt idx="170">
                  <c:v>20.02.22</c:v>
                </c:pt>
                <c:pt idx="171">
                  <c:v>21.02.22</c:v>
                </c:pt>
                <c:pt idx="172">
                  <c:v>22.02.22</c:v>
                </c:pt>
                <c:pt idx="173">
                  <c:v>23.02.22</c:v>
                </c:pt>
                <c:pt idx="174">
                  <c:v>24.02.22</c:v>
                </c:pt>
                <c:pt idx="175">
                  <c:v>25.02.22</c:v>
                </c:pt>
                <c:pt idx="176">
                  <c:v>26.02.22</c:v>
                </c:pt>
                <c:pt idx="177">
                  <c:v>27.02.22</c:v>
                </c:pt>
                <c:pt idx="178">
                  <c:v>28.02.22</c:v>
                </c:pt>
                <c:pt idx="179">
                  <c:v>01.03.22</c:v>
                </c:pt>
                <c:pt idx="180">
                  <c:v>02.03.22</c:v>
                </c:pt>
                <c:pt idx="181">
                  <c:v>03.03.22</c:v>
                </c:pt>
                <c:pt idx="182">
                  <c:v>04.03.22</c:v>
                </c:pt>
              </c:strCache>
            </c:strRef>
          </c:cat>
          <c:val>
            <c:numRef>
              <c:f>List1!$B$4:$GB$4</c:f>
              <c:numCache>
                <c:formatCode>General</c:formatCode>
                <c:ptCount val="183"/>
                <c:pt idx="0">
                  <c:v>135</c:v>
                </c:pt>
                <c:pt idx="1">
                  <c:v>138</c:v>
                </c:pt>
                <c:pt idx="2">
                  <c:v>137</c:v>
                </c:pt>
                <c:pt idx="3">
                  <c:v>141</c:v>
                </c:pt>
                <c:pt idx="4">
                  <c:v>142</c:v>
                </c:pt>
                <c:pt idx="5">
                  <c:v>139</c:v>
                </c:pt>
                <c:pt idx="6">
                  <c:v>138</c:v>
                </c:pt>
                <c:pt idx="7">
                  <c:v>140</c:v>
                </c:pt>
                <c:pt idx="8">
                  <c:v>139</c:v>
                </c:pt>
                <c:pt idx="9">
                  <c:v>142</c:v>
                </c:pt>
                <c:pt idx="10">
                  <c:v>143</c:v>
                </c:pt>
                <c:pt idx="11">
                  <c:v>143</c:v>
                </c:pt>
                <c:pt idx="12">
                  <c:v>147</c:v>
                </c:pt>
                <c:pt idx="13">
                  <c:v>151</c:v>
                </c:pt>
                <c:pt idx="14">
                  <c:v>149</c:v>
                </c:pt>
                <c:pt idx="15">
                  <c:v>148</c:v>
                </c:pt>
                <c:pt idx="16">
                  <c:v>151</c:v>
                </c:pt>
                <c:pt idx="17">
                  <c:v>152</c:v>
                </c:pt>
                <c:pt idx="18">
                  <c:v>159</c:v>
                </c:pt>
                <c:pt idx="19">
                  <c:v>166</c:v>
                </c:pt>
                <c:pt idx="20">
                  <c:v>168</c:v>
                </c:pt>
                <c:pt idx="21">
                  <c:v>171</c:v>
                </c:pt>
                <c:pt idx="22">
                  <c:v>174</c:v>
                </c:pt>
                <c:pt idx="23">
                  <c:v>173</c:v>
                </c:pt>
                <c:pt idx="24">
                  <c:v>176</c:v>
                </c:pt>
                <c:pt idx="25">
                  <c:v>181</c:v>
                </c:pt>
                <c:pt idx="26">
                  <c:v>181</c:v>
                </c:pt>
                <c:pt idx="27">
                  <c:v>186</c:v>
                </c:pt>
                <c:pt idx="28">
                  <c:v>189</c:v>
                </c:pt>
                <c:pt idx="29">
                  <c:v>191</c:v>
                </c:pt>
                <c:pt idx="30">
                  <c:v>192</c:v>
                </c:pt>
                <c:pt idx="31">
                  <c:v>194</c:v>
                </c:pt>
                <c:pt idx="32">
                  <c:v>196</c:v>
                </c:pt>
                <c:pt idx="33">
                  <c:v>205</c:v>
                </c:pt>
                <c:pt idx="34">
                  <c:v>210</c:v>
                </c:pt>
                <c:pt idx="35">
                  <c:v>216</c:v>
                </c:pt>
                <c:pt idx="36">
                  <c:v>221</c:v>
                </c:pt>
                <c:pt idx="37">
                  <c:v>223</c:v>
                </c:pt>
                <c:pt idx="38">
                  <c:v>233</c:v>
                </c:pt>
                <c:pt idx="39">
                  <c:v>262</c:v>
                </c:pt>
                <c:pt idx="40">
                  <c:v>269</c:v>
                </c:pt>
                <c:pt idx="41">
                  <c:v>277</c:v>
                </c:pt>
                <c:pt idx="42">
                  <c:v>281</c:v>
                </c:pt>
                <c:pt idx="43">
                  <c:v>287</c:v>
                </c:pt>
                <c:pt idx="44">
                  <c:v>291</c:v>
                </c:pt>
                <c:pt idx="45">
                  <c:v>318</c:v>
                </c:pt>
                <c:pt idx="46">
                  <c:v>359</c:v>
                </c:pt>
                <c:pt idx="47">
                  <c:v>394</c:v>
                </c:pt>
                <c:pt idx="48">
                  <c:v>433</c:v>
                </c:pt>
                <c:pt idx="49">
                  <c:v>464</c:v>
                </c:pt>
                <c:pt idx="50">
                  <c:v>487</c:v>
                </c:pt>
                <c:pt idx="51">
                  <c:v>500</c:v>
                </c:pt>
                <c:pt idx="52">
                  <c:v>548</c:v>
                </c:pt>
                <c:pt idx="53">
                  <c:v>603</c:v>
                </c:pt>
                <c:pt idx="54">
                  <c:v>650</c:v>
                </c:pt>
                <c:pt idx="55">
                  <c:v>675</c:v>
                </c:pt>
                <c:pt idx="56">
                  <c:v>739</c:v>
                </c:pt>
                <c:pt idx="57">
                  <c:v>784</c:v>
                </c:pt>
                <c:pt idx="58">
                  <c:v>813</c:v>
                </c:pt>
                <c:pt idx="59">
                  <c:v>886</c:v>
                </c:pt>
                <c:pt idx="60">
                  <c:v>960</c:v>
                </c:pt>
                <c:pt idx="61">
                  <c:v>1022</c:v>
                </c:pt>
                <c:pt idx="62">
                  <c:v>1074</c:v>
                </c:pt>
                <c:pt idx="63">
                  <c:v>1161</c:v>
                </c:pt>
                <c:pt idx="64">
                  <c:v>1189</c:v>
                </c:pt>
                <c:pt idx="65">
                  <c:v>1191</c:v>
                </c:pt>
                <c:pt idx="66">
                  <c:v>1224</c:v>
                </c:pt>
                <c:pt idx="67">
                  <c:v>1291</c:v>
                </c:pt>
                <c:pt idx="68">
                  <c:v>1372</c:v>
                </c:pt>
                <c:pt idx="69">
                  <c:v>1457</c:v>
                </c:pt>
                <c:pt idx="70">
                  <c:v>1522</c:v>
                </c:pt>
                <c:pt idx="71">
                  <c:v>1565</c:v>
                </c:pt>
                <c:pt idx="72">
                  <c:v>1575</c:v>
                </c:pt>
                <c:pt idx="73">
                  <c:v>1562</c:v>
                </c:pt>
                <c:pt idx="74">
                  <c:v>1631</c:v>
                </c:pt>
                <c:pt idx="75">
                  <c:v>1682</c:v>
                </c:pt>
                <c:pt idx="76">
                  <c:v>1728</c:v>
                </c:pt>
                <c:pt idx="77">
                  <c:v>1863</c:v>
                </c:pt>
                <c:pt idx="78">
                  <c:v>1942</c:v>
                </c:pt>
                <c:pt idx="79">
                  <c:v>1986</c:v>
                </c:pt>
                <c:pt idx="80">
                  <c:v>2019</c:v>
                </c:pt>
                <c:pt idx="81">
                  <c:v>2073</c:v>
                </c:pt>
                <c:pt idx="82">
                  <c:v>2113</c:v>
                </c:pt>
                <c:pt idx="83">
                  <c:v>2232</c:v>
                </c:pt>
                <c:pt idx="84">
                  <c:v>2219</c:v>
                </c:pt>
                <c:pt idx="85">
                  <c:v>2268</c:v>
                </c:pt>
                <c:pt idx="86">
                  <c:v>2292</c:v>
                </c:pt>
                <c:pt idx="87">
                  <c:v>2263</c:v>
                </c:pt>
                <c:pt idx="88">
                  <c:v>2254</c:v>
                </c:pt>
                <c:pt idx="89">
                  <c:v>2342</c:v>
                </c:pt>
                <c:pt idx="90">
                  <c:v>2247</c:v>
                </c:pt>
                <c:pt idx="91">
                  <c:v>2182</c:v>
                </c:pt>
                <c:pt idx="92">
                  <c:v>2185</c:v>
                </c:pt>
                <c:pt idx="93">
                  <c:v>2161</c:v>
                </c:pt>
                <c:pt idx="94">
                  <c:v>2077</c:v>
                </c:pt>
                <c:pt idx="95">
                  <c:v>2033</c:v>
                </c:pt>
                <c:pt idx="96">
                  <c:v>1971</c:v>
                </c:pt>
                <c:pt idx="97">
                  <c:v>1904</c:v>
                </c:pt>
                <c:pt idx="98">
                  <c:v>1838</c:v>
                </c:pt>
                <c:pt idx="99">
                  <c:v>1839</c:v>
                </c:pt>
                <c:pt idx="100">
                  <c:v>1814</c:v>
                </c:pt>
                <c:pt idx="101">
                  <c:v>1691</c:v>
                </c:pt>
                <c:pt idx="102">
                  <c:v>1680</c:v>
                </c:pt>
                <c:pt idx="103">
                  <c:v>1644</c:v>
                </c:pt>
                <c:pt idx="104">
                  <c:v>1578</c:v>
                </c:pt>
                <c:pt idx="105">
                  <c:v>1530</c:v>
                </c:pt>
                <c:pt idx="106">
                  <c:v>1526</c:v>
                </c:pt>
                <c:pt idx="107">
                  <c:v>1498</c:v>
                </c:pt>
                <c:pt idx="108">
                  <c:v>1374</c:v>
                </c:pt>
                <c:pt idx="109">
                  <c:v>1316</c:v>
                </c:pt>
                <c:pt idx="110">
                  <c:v>1249</c:v>
                </c:pt>
                <c:pt idx="111">
                  <c:v>1229</c:v>
                </c:pt>
                <c:pt idx="112">
                  <c:v>1144</c:v>
                </c:pt>
                <c:pt idx="113">
                  <c:v>1106</c:v>
                </c:pt>
                <c:pt idx="114">
                  <c:v>1066</c:v>
                </c:pt>
                <c:pt idx="115">
                  <c:v>938</c:v>
                </c:pt>
                <c:pt idx="116">
                  <c:v>934</c:v>
                </c:pt>
                <c:pt idx="117">
                  <c:v>896</c:v>
                </c:pt>
                <c:pt idx="118">
                  <c:v>867</c:v>
                </c:pt>
                <c:pt idx="119">
                  <c:v>854</c:v>
                </c:pt>
                <c:pt idx="120">
                  <c:v>827</c:v>
                </c:pt>
                <c:pt idx="121">
                  <c:v>798</c:v>
                </c:pt>
                <c:pt idx="122">
                  <c:v>765</c:v>
                </c:pt>
                <c:pt idx="123">
                  <c:v>791</c:v>
                </c:pt>
                <c:pt idx="124">
                  <c:v>793</c:v>
                </c:pt>
                <c:pt idx="125">
                  <c:v>822</c:v>
                </c:pt>
                <c:pt idx="126">
                  <c:v>876</c:v>
                </c:pt>
                <c:pt idx="127">
                  <c:v>887</c:v>
                </c:pt>
                <c:pt idx="128">
                  <c:v>882</c:v>
                </c:pt>
                <c:pt idx="129">
                  <c:v>867</c:v>
                </c:pt>
                <c:pt idx="130">
                  <c:v>892</c:v>
                </c:pt>
                <c:pt idx="131">
                  <c:v>925</c:v>
                </c:pt>
                <c:pt idx="132">
                  <c:v>936</c:v>
                </c:pt>
                <c:pt idx="133">
                  <c:v>983</c:v>
                </c:pt>
                <c:pt idx="134">
                  <c:v>1026</c:v>
                </c:pt>
                <c:pt idx="135">
                  <c:v>1041</c:v>
                </c:pt>
                <c:pt idx="136">
                  <c:v>1103</c:v>
                </c:pt>
                <c:pt idx="137">
                  <c:v>1230</c:v>
                </c:pt>
                <c:pt idx="138">
                  <c:v>1376</c:v>
                </c:pt>
                <c:pt idx="139">
                  <c:v>1530</c:v>
                </c:pt>
                <c:pt idx="140">
                  <c:v>1569</c:v>
                </c:pt>
                <c:pt idx="141">
                  <c:v>1607</c:v>
                </c:pt>
                <c:pt idx="142">
                  <c:v>1604</c:v>
                </c:pt>
                <c:pt idx="143">
                  <c:v>1701</c:v>
                </c:pt>
                <c:pt idx="144">
                  <c:v>1965</c:v>
                </c:pt>
                <c:pt idx="145">
                  <c:v>2303</c:v>
                </c:pt>
                <c:pt idx="146">
                  <c:v>2375</c:v>
                </c:pt>
                <c:pt idx="147">
                  <c:v>2598</c:v>
                </c:pt>
                <c:pt idx="148">
                  <c:v>2510</c:v>
                </c:pt>
                <c:pt idx="149">
                  <c:v>2498</c:v>
                </c:pt>
                <c:pt idx="150">
                  <c:v>2622</c:v>
                </c:pt>
                <c:pt idx="151">
                  <c:v>2993</c:v>
                </c:pt>
                <c:pt idx="152">
                  <c:v>3201</c:v>
                </c:pt>
                <c:pt idx="153">
                  <c:v>3176</c:v>
                </c:pt>
                <c:pt idx="154">
                  <c:v>3107</c:v>
                </c:pt>
                <c:pt idx="155">
                  <c:v>2948</c:v>
                </c:pt>
                <c:pt idx="156">
                  <c:v>2712</c:v>
                </c:pt>
                <c:pt idx="157">
                  <c:v>2805</c:v>
                </c:pt>
                <c:pt idx="158">
                  <c:v>3025</c:v>
                </c:pt>
                <c:pt idx="159">
                  <c:v>3183</c:v>
                </c:pt>
                <c:pt idx="160">
                  <c:v>2892</c:v>
                </c:pt>
                <c:pt idx="161">
                  <c:v>2711</c:v>
                </c:pt>
                <c:pt idx="162">
                  <c:v>2477</c:v>
                </c:pt>
                <c:pt idx="163">
                  <c:v>2240</c:v>
                </c:pt>
                <c:pt idx="164">
                  <c:v>2202</c:v>
                </c:pt>
                <c:pt idx="165">
                  <c:v>2346</c:v>
                </c:pt>
                <c:pt idx="166">
                  <c:v>2364</c:v>
                </c:pt>
                <c:pt idx="167">
                  <c:v>2032</c:v>
                </c:pt>
                <c:pt idx="168">
                  <c:v>1862</c:v>
                </c:pt>
                <c:pt idx="169">
                  <c:v>1678</c:v>
                </c:pt>
                <c:pt idx="170">
                  <c:v>1492</c:v>
                </c:pt>
                <c:pt idx="171">
                  <c:v>1453</c:v>
                </c:pt>
                <c:pt idx="172">
                  <c:v>1497</c:v>
                </c:pt>
                <c:pt idx="173">
                  <c:v>1512</c:v>
                </c:pt>
                <c:pt idx="174">
                  <c:v>1314</c:v>
                </c:pt>
                <c:pt idx="175">
                  <c:v>1222</c:v>
                </c:pt>
                <c:pt idx="176">
                  <c:v>1114</c:v>
                </c:pt>
                <c:pt idx="177">
                  <c:v>1010</c:v>
                </c:pt>
                <c:pt idx="178">
                  <c:v>1023</c:v>
                </c:pt>
                <c:pt idx="179">
                  <c:v>1095</c:v>
                </c:pt>
                <c:pt idx="180">
                  <c:v>1144</c:v>
                </c:pt>
                <c:pt idx="181">
                  <c:v>1015</c:v>
                </c:pt>
                <c:pt idx="182">
                  <c:v>96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8-37CD-4BA3-857E-B86804E5EE0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604314152"/>
        <c:axId val="604312192"/>
      </c:lineChart>
      <c:catAx>
        <c:axId val="604314152"/>
        <c:scaling>
          <c:orientation val="minMax"/>
        </c:scaling>
        <c:delete val="0"/>
        <c:axPos val="b"/>
        <c:numFmt formatCode="dd/mm/yy;@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604312192"/>
        <c:crosses val="autoZero"/>
        <c:auto val="1"/>
        <c:lblAlgn val="ctr"/>
        <c:lblOffset val="100"/>
        <c:tickLblSkip val="7"/>
        <c:noMultiLvlLbl val="0"/>
      </c:catAx>
      <c:valAx>
        <c:axId val="604312192"/>
        <c:scaling>
          <c:orientation val="minMax"/>
          <c:min val="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60431415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200">
          <a:solidFill>
            <a:schemeClr val="tx1"/>
          </a:solidFill>
          <a:latin typeface="Calibri" panose="020F0502020204030204" pitchFamily="34" charset="0"/>
          <a:cs typeface="Calibri" panose="020F0502020204030204" pitchFamily="34" charset="0"/>
        </a:defRPr>
      </a:pPr>
      <a:endParaRPr lang="cs-CZ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0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6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7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8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9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0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Zástupný symbol pro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F8F9534-E31E-47A6-B3B5-39567348889D}" type="datetimeFigureOut">
              <a:rPr lang="cs-CZ" smtClean="0"/>
              <a:t>06.03.2022</a:t>
            </a:fld>
            <a:endParaRPr lang="cs-CZ"/>
          </a:p>
        </p:txBody>
      </p:sp>
      <p:sp>
        <p:nvSpPr>
          <p:cNvPr id="4" name="Zástupný symbol pro obrázek snímku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cs-CZ"/>
          </a:p>
        </p:txBody>
      </p:sp>
      <p:sp>
        <p:nvSpPr>
          <p:cNvPr id="5" name="Zástupný symbol pro poznámky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13B4F48-45DA-4A93-94D7-4559DBB1A6C9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61277012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1953481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66150669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45006464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45006464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53845521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34489135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29553315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43680774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75720515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23891653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13B4F48-45DA-4A93-94D7-4559DBB1A6C9}" type="slidenum">
              <a:rPr lang="cs-CZ" smtClean="0"/>
              <a:t>22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03330937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28303271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13B4F48-45DA-4A93-94D7-4559DBB1A6C9}" type="slidenum">
              <a:rPr lang="cs-CZ" smtClean="0"/>
              <a:t>23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888449828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402AD0F-0DC9-4FF9-A1AD-81BDA829852F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4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73093970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402AD0F-0DC9-4FF9-A1AD-81BDA829852F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6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14443132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402AD0F-0DC9-4FF9-A1AD-81BDA829852F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8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14443132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402AD0F-0DC9-4FF9-A1AD-81BDA829852F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0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60178347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13B4F48-45DA-4A93-94D7-4559DBB1A6C9}" type="slidenum">
              <a:rPr lang="cs-CZ" smtClean="0"/>
              <a:t>31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264090367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2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38415299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13B4F48-45DA-4A93-94D7-4559DBB1A6C9}" type="slidenum">
              <a:rPr lang="cs-CZ" smtClean="0"/>
              <a:t>37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80845677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4888445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2893442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6661728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3512317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2821312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1914962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7319544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2.svg"/><Relationship Id="rId5" Type="http://schemas.openxmlformats.org/officeDocument/2006/relationships/image" Target="../media/image1.png"/><Relationship Id="rId4" Type="http://schemas.openxmlformats.org/officeDocument/2006/relationships/image" Target="../media/image10.sv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3.png"/><Relationship Id="rId5" Type="http://schemas.openxmlformats.org/officeDocument/2006/relationships/image" Target="../media/image2.svg"/><Relationship Id="rId4" Type="http://schemas.openxmlformats.org/officeDocument/2006/relationships/image" Target="../media/image1.png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3.png"/><Relationship Id="rId5" Type="http://schemas.openxmlformats.org/officeDocument/2006/relationships/image" Target="../media/image2.svg"/><Relationship Id="rId4" Type="http://schemas.openxmlformats.org/officeDocument/2006/relationships/image" Target="../media/image1.png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3.png"/><Relationship Id="rId5" Type="http://schemas.openxmlformats.org/officeDocument/2006/relationships/image" Target="../media/image2.svg"/><Relationship Id="rId4" Type="http://schemas.openxmlformats.org/officeDocument/2006/relationships/image" Target="../media/image1.png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10.svg"/><Relationship Id="rId5" Type="http://schemas.openxmlformats.org/officeDocument/2006/relationships/image" Target="../media/image13.png"/><Relationship Id="rId4" Type="http://schemas.openxmlformats.org/officeDocument/2006/relationships/image" Target="../media/image3.png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3.png"/><Relationship Id="rId5" Type="http://schemas.openxmlformats.org/officeDocument/2006/relationships/image" Target="../media/image2.svg"/><Relationship Id="rId4" Type="http://schemas.openxmlformats.org/officeDocument/2006/relationships/image" Target="../media/image1.png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2.svg"/><Relationship Id="rId5" Type="http://schemas.openxmlformats.org/officeDocument/2006/relationships/image" Target="../media/image1.png"/><Relationship Id="rId4" Type="http://schemas.openxmlformats.org/officeDocument/2006/relationships/image" Target="../media/image10.sv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6.png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0.svg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emf"/><Relationship Id="rId2" Type="http://schemas.openxmlformats.org/officeDocument/2006/relationships/image" Target="../media/image11.tmp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Zástupný obsah 2">
            <a:extLst>
              <a:ext uri="{FF2B5EF4-FFF2-40B4-BE49-F238E27FC236}">
                <a16:creationId xmlns:a16="http://schemas.microsoft.com/office/drawing/2014/main" id="{CC8B3D67-369B-4F24-8897-F0919A3E54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039226"/>
            <a:ext cx="11487705" cy="5587305"/>
          </a:xfrm>
        </p:spPr>
        <p:txBody>
          <a:bodyPr>
            <a:normAutofit/>
          </a:bodyPr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sp>
        <p:nvSpPr>
          <p:cNvPr id="19" name="Obdélník 18">
            <a:extLst>
              <a:ext uri="{FF2B5EF4-FFF2-40B4-BE49-F238E27FC236}">
                <a16:creationId xmlns:a16="http://schemas.microsoft.com/office/drawing/2014/main" id="{11FBEFA6-3CC9-4A8B-98AB-811AE091489A}"/>
              </a:ext>
            </a:extLst>
          </p:cNvPr>
          <p:cNvSpPr/>
          <p:nvPr userDrawn="1"/>
        </p:nvSpPr>
        <p:spPr>
          <a:xfrm>
            <a:off x="1" y="1"/>
            <a:ext cx="12192000" cy="79066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20" name="Nadpis 1">
            <a:extLst>
              <a:ext uri="{FF2B5EF4-FFF2-40B4-BE49-F238E27FC236}">
                <a16:creationId xmlns:a16="http://schemas.microsoft.com/office/drawing/2014/main" id="{C2747F8C-F296-41AB-B6E6-650FFEA0111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1"/>
            <a:ext cx="5396696" cy="790667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9928806D-A537-4323-B4ED-4983696D2AF8}"/>
              </a:ext>
            </a:extLst>
          </p:cNvPr>
          <p:cNvGrpSpPr/>
          <p:nvPr userDrawn="1"/>
        </p:nvGrpSpPr>
        <p:grpSpPr>
          <a:xfrm>
            <a:off x="5972087" y="107328"/>
            <a:ext cx="6026262" cy="737003"/>
            <a:chOff x="5972087" y="329946"/>
            <a:chExt cx="6026262" cy="737003"/>
          </a:xfrm>
        </p:grpSpPr>
        <p:grpSp>
          <p:nvGrpSpPr>
            <p:cNvPr id="22" name="Skupina 21">
              <a:extLst>
                <a:ext uri="{FF2B5EF4-FFF2-40B4-BE49-F238E27FC236}">
                  <a16:creationId xmlns:a16="http://schemas.microsoft.com/office/drawing/2014/main" id="{FB2B0A03-1219-4FC5-81C7-A43DCB123A0C}"/>
                </a:ext>
              </a:extLst>
            </p:cNvPr>
            <p:cNvGrpSpPr/>
            <p:nvPr userDrawn="1"/>
          </p:nvGrpSpPr>
          <p:grpSpPr>
            <a:xfrm>
              <a:off x="8116661" y="349032"/>
              <a:ext cx="3881688" cy="450808"/>
              <a:chOff x="8214317" y="349032"/>
              <a:chExt cx="3881688" cy="450808"/>
            </a:xfrm>
          </p:grpSpPr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2E921148-1008-412D-AB36-245237C3D6BD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8214317" y="488933"/>
                <a:ext cx="2963998" cy="252000"/>
              </a:xfrm>
              <a:prstGeom prst="rect">
                <a:avLst/>
              </a:prstGeom>
            </p:spPr>
          </p:pic>
          <p:pic>
            <p:nvPicPr>
              <p:cNvPr id="28" name="Obrázek 27" descr="Obsah obrázku kreslení&#10;&#10;Popis byl vytvořen automaticky">
                <a:extLst>
                  <a:ext uri="{FF2B5EF4-FFF2-40B4-BE49-F238E27FC236}">
                    <a16:creationId xmlns:a16="http://schemas.microsoft.com/office/drawing/2014/main" id="{480755B3-A38B-4215-974C-50EA6F66494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11430075" y="349032"/>
                <a:ext cx="665930" cy="450808"/>
              </a:xfrm>
              <a:prstGeom prst="rect">
                <a:avLst/>
              </a:prstGeom>
            </p:spPr>
          </p:pic>
        </p:grpSp>
        <p:pic>
          <p:nvPicPr>
            <p:cNvPr id="23" name="Grafický objekt 22">
              <a:extLst>
                <a:ext uri="{FF2B5EF4-FFF2-40B4-BE49-F238E27FC236}">
                  <a16:creationId xmlns:a16="http://schemas.microsoft.com/office/drawing/2014/main" id="{1A14BE4F-72B2-49A1-B4A4-7983F7AE5745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5" cstate="hq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 t="-1" b="-2685"/>
            <a:stretch/>
          </p:blipFill>
          <p:spPr>
            <a:xfrm>
              <a:off x="5972087" y="329946"/>
              <a:ext cx="1892814" cy="73700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156762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4" userDrawn="1">
          <p15:clr>
            <a:srgbClr val="FBAE40"/>
          </p15:clr>
        </p15:guide>
        <p15:guide id="2" pos="7582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va obsah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D6751BB3-54BB-497C-9D87-7331E63652A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169F060A-A852-4CAC-8567-9FF26BE22C4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obsah 3">
            <a:extLst>
              <a:ext uri="{FF2B5EF4-FFF2-40B4-BE49-F238E27FC236}">
                <a16:creationId xmlns:a16="http://schemas.microsoft.com/office/drawing/2014/main" id="{DA874AFF-9D96-448C-A700-2FC369C17CF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4FEB687C-F962-4BE7-8278-3C31FC255F0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58D0A-07E9-4A68-88A0-7C25FDBBE4AC}" type="datetimeFigureOut">
              <a:rPr lang="cs-CZ" smtClean="0"/>
              <a:t>06.03.2022</a:t>
            </a:fld>
            <a:endParaRPr lang="cs-CZ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C8620F06-EBA0-40CC-9A9C-15001C536D5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D0FDE4CA-77DD-417D-8C54-07ECB9628C8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02988581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ovná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83EF8E94-026C-4341-B09E-E0FB30A2BA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90670218-0D2B-45AF-8CEE-4DF7A0BA978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4" name="Zástupný obsah 3">
            <a:extLst>
              <a:ext uri="{FF2B5EF4-FFF2-40B4-BE49-F238E27FC236}">
                <a16:creationId xmlns:a16="http://schemas.microsoft.com/office/drawing/2014/main" id="{BFFD3F4B-DA25-4423-9234-6270FB4E0C1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5" name="Zástupný text 4">
            <a:extLst>
              <a:ext uri="{FF2B5EF4-FFF2-40B4-BE49-F238E27FC236}">
                <a16:creationId xmlns:a16="http://schemas.microsoft.com/office/drawing/2014/main" id="{57E2AC16-B4BF-4A45-92DD-CD16581B2D7E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6" name="Zástupný obsah 5">
            <a:extLst>
              <a:ext uri="{FF2B5EF4-FFF2-40B4-BE49-F238E27FC236}">
                <a16:creationId xmlns:a16="http://schemas.microsoft.com/office/drawing/2014/main" id="{7000A558-D06F-4CAD-88FC-71F13523FA65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7" name="Zástupný symbol pro datum 6">
            <a:extLst>
              <a:ext uri="{FF2B5EF4-FFF2-40B4-BE49-F238E27FC236}">
                <a16:creationId xmlns:a16="http://schemas.microsoft.com/office/drawing/2014/main" id="{118A76E9-680A-4BC2-86CB-5D2DB66F56C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58D0A-07E9-4A68-88A0-7C25FDBBE4AC}" type="datetimeFigureOut">
              <a:rPr lang="cs-CZ" smtClean="0"/>
              <a:t>06.03.2022</a:t>
            </a:fld>
            <a:endParaRPr lang="cs-CZ"/>
          </a:p>
        </p:txBody>
      </p:sp>
      <p:sp>
        <p:nvSpPr>
          <p:cNvPr id="8" name="Zástupný symbol pro zápatí 7">
            <a:extLst>
              <a:ext uri="{FF2B5EF4-FFF2-40B4-BE49-F238E27FC236}">
                <a16:creationId xmlns:a16="http://schemas.microsoft.com/office/drawing/2014/main" id="{1152DBE4-0E61-401B-BD63-91D12BCAE9C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9" name="Zástupný symbol pro číslo snímku 8">
            <a:extLst>
              <a:ext uri="{FF2B5EF4-FFF2-40B4-BE49-F238E27FC236}">
                <a16:creationId xmlns:a16="http://schemas.microsoft.com/office/drawing/2014/main" id="{C424E131-06CD-4DDF-BC06-F98D2D3B9B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18790454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B85B3AFD-D5D4-46CB-9F1D-95D2EFDFBB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datum 2">
            <a:extLst>
              <a:ext uri="{FF2B5EF4-FFF2-40B4-BE49-F238E27FC236}">
                <a16:creationId xmlns:a16="http://schemas.microsoft.com/office/drawing/2014/main" id="{B1BD99F9-6247-4A54-87C4-9749A54B1A7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58D0A-07E9-4A68-88A0-7C25FDBBE4AC}" type="datetimeFigureOut">
              <a:rPr lang="cs-CZ" smtClean="0"/>
              <a:t>06.03.2022</a:t>
            </a:fld>
            <a:endParaRPr lang="cs-CZ"/>
          </a:p>
        </p:txBody>
      </p:sp>
      <p:sp>
        <p:nvSpPr>
          <p:cNvPr id="4" name="Zástupný symbol pro zápatí 3">
            <a:extLst>
              <a:ext uri="{FF2B5EF4-FFF2-40B4-BE49-F238E27FC236}">
                <a16:creationId xmlns:a16="http://schemas.microsoft.com/office/drawing/2014/main" id="{F8DBF052-AB7F-4048-9680-0492DCE6D0A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5" name="Zástupný symbol pro číslo snímku 4">
            <a:extLst>
              <a:ext uri="{FF2B5EF4-FFF2-40B4-BE49-F238E27FC236}">
                <a16:creationId xmlns:a16="http://schemas.microsoft.com/office/drawing/2014/main" id="{B92A02BA-2BB6-4CF6-8B58-CFAA66013A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44670865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datum 1">
            <a:extLst>
              <a:ext uri="{FF2B5EF4-FFF2-40B4-BE49-F238E27FC236}">
                <a16:creationId xmlns:a16="http://schemas.microsoft.com/office/drawing/2014/main" id="{D612E4EC-12D7-42E4-AE43-F6D7008AB30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58D0A-07E9-4A68-88A0-7C25FDBBE4AC}" type="datetimeFigureOut">
              <a:rPr lang="cs-CZ" smtClean="0"/>
              <a:t>06.03.2022</a:t>
            </a:fld>
            <a:endParaRPr lang="cs-CZ"/>
          </a:p>
        </p:txBody>
      </p:sp>
      <p:sp>
        <p:nvSpPr>
          <p:cNvPr id="3" name="Zástupný symbol pro zápatí 2">
            <a:extLst>
              <a:ext uri="{FF2B5EF4-FFF2-40B4-BE49-F238E27FC236}">
                <a16:creationId xmlns:a16="http://schemas.microsoft.com/office/drawing/2014/main" id="{2706D130-0739-4330-9775-702FDF7EE7B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4" name="Zástupný symbol pro číslo snímku 3">
            <a:extLst>
              <a:ext uri="{FF2B5EF4-FFF2-40B4-BE49-F238E27FC236}">
                <a16:creationId xmlns:a16="http://schemas.microsoft.com/office/drawing/2014/main" id="{A94FAE36-22DA-4CEF-82CE-F85F3D6E5E6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92499921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Obsah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C0AC2F0-B610-42BD-9258-BE4E8A4796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9594586C-48B1-4459-A0A6-DFA4C0FE38A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text 3">
            <a:extLst>
              <a:ext uri="{FF2B5EF4-FFF2-40B4-BE49-F238E27FC236}">
                <a16:creationId xmlns:a16="http://schemas.microsoft.com/office/drawing/2014/main" id="{7618E00B-DFA9-4ABA-9E89-EC4C6B3AC9F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0E3D956F-D736-467D-809E-A6B8EBBB7B4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58D0A-07E9-4A68-88A0-7C25FDBBE4AC}" type="datetimeFigureOut">
              <a:rPr lang="cs-CZ" smtClean="0"/>
              <a:t>06.03.2022</a:t>
            </a:fld>
            <a:endParaRPr lang="cs-CZ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EA2BC7A4-764C-4169-ADBC-7F1248B44C3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B88FFD62-2584-4271-8B43-930689E422C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44052338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ázek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455F6CA7-4510-4C38-AB29-269B0667E78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symbol obrázku 2">
            <a:extLst>
              <a:ext uri="{FF2B5EF4-FFF2-40B4-BE49-F238E27FC236}">
                <a16:creationId xmlns:a16="http://schemas.microsoft.com/office/drawing/2014/main" id="{525F525D-76F8-4F89-ACDB-370F1E3E47C2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cs-CZ"/>
          </a:p>
        </p:txBody>
      </p:sp>
      <p:sp>
        <p:nvSpPr>
          <p:cNvPr id="4" name="Zástupný text 3">
            <a:extLst>
              <a:ext uri="{FF2B5EF4-FFF2-40B4-BE49-F238E27FC236}">
                <a16:creationId xmlns:a16="http://schemas.microsoft.com/office/drawing/2014/main" id="{0513CD65-3F93-416A-8079-50A6B39FD29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6FE6EB9A-EACF-42B5-8677-B501B2A425B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58D0A-07E9-4A68-88A0-7C25FDBBE4AC}" type="datetimeFigureOut">
              <a:rPr lang="cs-CZ" smtClean="0"/>
              <a:t>06.03.2022</a:t>
            </a:fld>
            <a:endParaRPr lang="cs-CZ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C6CB2E11-5C59-4983-B23C-94050313564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A284666C-EC8D-44A8-94DD-5735F905945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63790976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Nadpis a svislý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7C593D8-E6C3-42E0-91E5-34BBFE7635C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svislý text 2">
            <a:extLst>
              <a:ext uri="{FF2B5EF4-FFF2-40B4-BE49-F238E27FC236}">
                <a16:creationId xmlns:a16="http://schemas.microsoft.com/office/drawing/2014/main" id="{07D27C9F-D286-49AD-B637-AB03985B6A0B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60051D3F-4680-4DFE-9D28-92707289CE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58D0A-07E9-4A68-88A0-7C25FDBBE4AC}" type="datetimeFigureOut">
              <a:rPr lang="cs-CZ" smtClean="0"/>
              <a:t>06.03.2022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31A2C8DA-A4B9-4CA7-8902-C297ECB62BF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14C9B13D-3976-43E2-9805-3E309ABC756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5068716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Svislý nadpis a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vislý nadpis 1">
            <a:extLst>
              <a:ext uri="{FF2B5EF4-FFF2-40B4-BE49-F238E27FC236}">
                <a16:creationId xmlns:a16="http://schemas.microsoft.com/office/drawing/2014/main" id="{2A4CD9B6-8A80-4B59-B5D5-0A7202A073EB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svislý text 2">
            <a:extLst>
              <a:ext uri="{FF2B5EF4-FFF2-40B4-BE49-F238E27FC236}">
                <a16:creationId xmlns:a16="http://schemas.microsoft.com/office/drawing/2014/main" id="{3D6E8B14-04CE-430A-97C5-E63E3AC6241F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CA124C15-1E21-44AA-B0CF-567922D2D99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58D0A-07E9-4A68-88A0-7C25FDBBE4AC}" type="datetimeFigureOut">
              <a:rPr lang="cs-CZ" smtClean="0"/>
              <a:t>06.03.2022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277C4AD0-92D5-4BED-AD8D-2078F6B78AF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0065E49F-34C0-46C8-AAEF-3C9FAFE7C2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93263307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</p:spTree>
    <p:extLst>
      <p:ext uri="{BB962C8B-B14F-4D97-AF65-F5344CB8AC3E}">
        <p14:creationId xmlns:p14="http://schemas.microsoft.com/office/powerpoint/2010/main" val="129214124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Úvodn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>
            <a:extLst>
              <a:ext uri="{FF2B5EF4-FFF2-40B4-BE49-F238E27FC236}">
                <a16:creationId xmlns:a16="http://schemas.microsoft.com/office/drawing/2014/main" id="{4EC56048-479B-4CB1-B677-16A8618B9DB7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pic>
        <p:nvPicPr>
          <p:cNvPr id="18" name="Obrázek 17">
            <a:extLst>
              <a:ext uri="{FF2B5EF4-FFF2-40B4-BE49-F238E27FC236}">
                <a16:creationId xmlns:a16="http://schemas.microsoft.com/office/drawing/2014/main" id="{675FD825-1F31-4493-889C-46F3B206D71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5951561"/>
            <a:ext cx="964869" cy="639860"/>
          </a:xfrm>
          <a:prstGeom prst="rect">
            <a:avLst/>
          </a:prstGeom>
        </p:spPr>
      </p:pic>
      <p:sp>
        <p:nvSpPr>
          <p:cNvPr id="19" name="Nadpis 1">
            <a:extLst>
              <a:ext uri="{FF2B5EF4-FFF2-40B4-BE49-F238E27FC236}">
                <a16:creationId xmlns:a16="http://schemas.microsoft.com/office/drawing/2014/main" id="{52EB2EA6-5A78-4E85-AE4C-221CA83B818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Hlavní nadpis prezentace</a:t>
            </a:r>
          </a:p>
        </p:txBody>
      </p:sp>
      <p:sp>
        <p:nvSpPr>
          <p:cNvPr id="20" name="Podnadpis 2">
            <a:extLst>
              <a:ext uri="{FF2B5EF4-FFF2-40B4-BE49-F238E27FC236}">
                <a16:creationId xmlns:a16="http://schemas.microsoft.com/office/drawing/2014/main" id="{070F9525-D336-4269-AB65-F312FD83E2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 prezentace</a:t>
            </a:r>
          </a:p>
        </p:txBody>
      </p:sp>
      <p:grpSp>
        <p:nvGrpSpPr>
          <p:cNvPr id="24" name="Skupina 23">
            <a:extLst>
              <a:ext uri="{FF2B5EF4-FFF2-40B4-BE49-F238E27FC236}">
                <a16:creationId xmlns:a16="http://schemas.microsoft.com/office/drawing/2014/main" id="{A68D80B2-804E-48C4-917F-364953F04117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3" name="Grafický objekt 12">
              <a:extLst>
                <a:ext uri="{FF2B5EF4-FFF2-40B4-BE49-F238E27FC236}">
                  <a16:creationId xmlns:a16="http://schemas.microsoft.com/office/drawing/2014/main" id="{6AD8391B-BFA6-420F-8E95-DE146CE7E68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6" name="Grafický objekt 15">
              <a:extLst>
                <a:ext uri="{FF2B5EF4-FFF2-40B4-BE49-F238E27FC236}">
                  <a16:creationId xmlns:a16="http://schemas.microsoft.com/office/drawing/2014/main" id="{2E38FE36-8704-4B15-B3ED-B5C034568E6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803473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77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Obdélník 10">
            <a:extLst>
              <a:ext uri="{FF2B5EF4-FFF2-40B4-BE49-F238E27FC236}">
                <a16:creationId xmlns:a16="http://schemas.microsoft.com/office/drawing/2014/main" id="{DC58920C-B9EC-4A94-B9EB-451592F3EED9}"/>
              </a:ext>
            </a:extLst>
          </p:cNvPr>
          <p:cNvSpPr/>
          <p:nvPr userDrawn="1"/>
        </p:nvSpPr>
        <p:spPr>
          <a:xfrm>
            <a:off x="1" y="1"/>
            <a:ext cx="12192000" cy="79066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2" name="Nadpis 1">
            <a:extLst>
              <a:ext uri="{FF2B5EF4-FFF2-40B4-BE49-F238E27FC236}">
                <a16:creationId xmlns:a16="http://schemas.microsoft.com/office/drawing/2014/main" id="{A3C58891-14E6-4818-B969-C72F93F0879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1"/>
            <a:ext cx="5396696" cy="790667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3" name="Skupina 12">
            <a:extLst>
              <a:ext uri="{FF2B5EF4-FFF2-40B4-BE49-F238E27FC236}">
                <a16:creationId xmlns:a16="http://schemas.microsoft.com/office/drawing/2014/main" id="{4B49FBB4-BF51-45C2-86CA-B4502DA62936}"/>
              </a:ext>
            </a:extLst>
          </p:cNvPr>
          <p:cNvGrpSpPr/>
          <p:nvPr userDrawn="1"/>
        </p:nvGrpSpPr>
        <p:grpSpPr>
          <a:xfrm>
            <a:off x="5972087" y="107328"/>
            <a:ext cx="6026262" cy="737003"/>
            <a:chOff x="5972087" y="329946"/>
            <a:chExt cx="6026262" cy="737003"/>
          </a:xfrm>
        </p:grpSpPr>
        <p:grpSp>
          <p:nvGrpSpPr>
            <p:cNvPr id="14" name="Skupina 13">
              <a:extLst>
                <a:ext uri="{FF2B5EF4-FFF2-40B4-BE49-F238E27FC236}">
                  <a16:creationId xmlns:a16="http://schemas.microsoft.com/office/drawing/2014/main" id="{1533BE81-CFEE-48A9-AF03-143EC513CB79}"/>
                </a:ext>
              </a:extLst>
            </p:cNvPr>
            <p:cNvGrpSpPr/>
            <p:nvPr userDrawn="1"/>
          </p:nvGrpSpPr>
          <p:grpSpPr>
            <a:xfrm>
              <a:off x="8116661" y="349032"/>
              <a:ext cx="3881688" cy="450808"/>
              <a:chOff x="8214317" y="349032"/>
              <a:chExt cx="3881688" cy="450808"/>
            </a:xfrm>
          </p:grpSpPr>
          <p:pic>
            <p:nvPicPr>
              <p:cNvPr id="17" name="Grafický objekt 16">
                <a:extLst>
                  <a:ext uri="{FF2B5EF4-FFF2-40B4-BE49-F238E27FC236}">
                    <a16:creationId xmlns:a16="http://schemas.microsoft.com/office/drawing/2014/main" id="{2BA1D09A-64DD-4910-BF60-CC7075472A81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8214317" y="488933"/>
                <a:ext cx="2963998" cy="252000"/>
              </a:xfrm>
              <a:prstGeom prst="rect">
                <a:avLst/>
              </a:prstGeom>
            </p:spPr>
          </p:pic>
          <p:pic>
            <p:nvPicPr>
              <p:cNvPr id="18" name="Obrázek 17" descr="Obsah obrázku kreslení&#10;&#10;Popis byl vytvořen automaticky">
                <a:extLst>
                  <a:ext uri="{FF2B5EF4-FFF2-40B4-BE49-F238E27FC236}">
                    <a16:creationId xmlns:a16="http://schemas.microsoft.com/office/drawing/2014/main" id="{3A04F306-61D6-499B-9F34-24714C7AFEAD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11430075" y="349032"/>
                <a:ext cx="665930" cy="450808"/>
              </a:xfrm>
              <a:prstGeom prst="rect">
                <a:avLst/>
              </a:prstGeom>
            </p:spPr>
          </p:pic>
        </p:grpSp>
        <p:pic>
          <p:nvPicPr>
            <p:cNvPr id="15" name="Grafický objekt 14">
              <a:extLst>
                <a:ext uri="{FF2B5EF4-FFF2-40B4-BE49-F238E27FC236}">
                  <a16:creationId xmlns:a16="http://schemas.microsoft.com/office/drawing/2014/main" id="{62747C58-6152-448D-9270-C4FE61C51FC4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5" cstate="hq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 t="-1" b="-2685"/>
            <a:stretch/>
          </p:blipFill>
          <p:spPr>
            <a:xfrm>
              <a:off x="5972087" y="329946"/>
              <a:ext cx="1892814" cy="73700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6841378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0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74A8D0C3-8828-4945-AE3F-F718697470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11" name="Zástupný obsah 2">
            <a:extLst>
              <a:ext uri="{FF2B5EF4-FFF2-40B4-BE49-F238E27FC236}">
                <a16:creationId xmlns:a16="http://schemas.microsoft.com/office/drawing/2014/main" id="{CC8B3D67-369B-4F24-8897-F0919A3E54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376037"/>
            <a:ext cx="11487705" cy="5152017"/>
          </a:xfrm>
        </p:spPr>
        <p:txBody>
          <a:bodyPr/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grpSp>
        <p:nvGrpSpPr>
          <p:cNvPr id="3" name="Skupina 2">
            <a:extLst>
              <a:ext uri="{FF2B5EF4-FFF2-40B4-BE49-F238E27FC236}">
                <a16:creationId xmlns:a16="http://schemas.microsoft.com/office/drawing/2014/main" id="{EDB0FC9C-CAD2-4DA3-81D9-FE9D2BAA5F0C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5" name="Skupina 24">
              <a:extLst>
                <a:ext uri="{FF2B5EF4-FFF2-40B4-BE49-F238E27FC236}">
                  <a16:creationId xmlns:a16="http://schemas.microsoft.com/office/drawing/2014/main" id="{812BEB90-324A-4A2D-9EF7-4E5CCD4362D6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6" name="Grafický objekt 25">
                <a:extLst>
                  <a:ext uri="{FF2B5EF4-FFF2-40B4-BE49-F238E27FC236}">
                    <a16:creationId xmlns:a16="http://schemas.microsoft.com/office/drawing/2014/main" id="{DA398F1A-CD3A-4447-AD94-A2C8AA7D3ED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7" name="Grafický objekt 26">
                <a:extLst>
                  <a:ext uri="{FF2B5EF4-FFF2-40B4-BE49-F238E27FC236}">
                    <a16:creationId xmlns:a16="http://schemas.microsoft.com/office/drawing/2014/main" id="{B44E7B5D-0A2A-4E37-9366-E7DA62490451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0" name="Obrázek 9" descr="Obsah obrázku kreslení&#10;&#10;Popis byl vytvořen automaticky">
              <a:extLst>
                <a:ext uri="{FF2B5EF4-FFF2-40B4-BE49-F238E27FC236}">
                  <a16:creationId xmlns:a16="http://schemas.microsoft.com/office/drawing/2014/main" id="{79993D16-A750-49F0-840D-E154F500609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80777774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6">
          <p15:clr>
            <a:srgbClr val="FBAE40"/>
          </p15:clr>
        </p15:guide>
        <p15:guide id="2" pos="7582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text, obráz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3" name="Zástupný symbol obrázku 12">
            <a:extLst>
              <a:ext uri="{FF2B5EF4-FFF2-40B4-BE49-F238E27FC236}">
                <a16:creationId xmlns:a16="http://schemas.microsoft.com/office/drawing/2014/main" id="{9DA90696-1068-45DC-844C-39D2648EE4B7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431686" y="1376036"/>
            <a:ext cx="6378575" cy="5152017"/>
          </a:xfrm>
        </p:spPr>
        <p:txBody>
          <a:bodyPr anchor="ctr">
            <a:normAutofit/>
          </a:bodyPr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Zde vložte obrázek</a:t>
            </a: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1470E0D0-A2AB-409D-829F-DB124986B13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9" name="Skupina 18">
            <a:extLst>
              <a:ext uri="{FF2B5EF4-FFF2-40B4-BE49-F238E27FC236}">
                <a16:creationId xmlns:a16="http://schemas.microsoft.com/office/drawing/2014/main" id="{827422E6-1939-4D22-82CF-00821A158B63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0" name="Skupina 19">
              <a:extLst>
                <a:ext uri="{FF2B5EF4-FFF2-40B4-BE49-F238E27FC236}">
                  <a16:creationId xmlns:a16="http://schemas.microsoft.com/office/drawing/2014/main" id="{EBDF3FB1-1F98-4150-A8F1-0D74F99C8837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3" name="Grafický objekt 22">
                <a:extLst>
                  <a:ext uri="{FF2B5EF4-FFF2-40B4-BE49-F238E27FC236}">
                    <a16:creationId xmlns:a16="http://schemas.microsoft.com/office/drawing/2014/main" id="{DCF8E799-50DF-4E6B-ACA9-136D7EC04502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85FD9467-D507-4558-9FAC-72B0B20404DD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2" name="Obrázek 21" descr="Obsah obrázku kreslení&#10;&#10;Popis byl vytvořen automaticky">
              <a:extLst>
                <a:ext uri="{FF2B5EF4-FFF2-40B4-BE49-F238E27FC236}">
                  <a16:creationId xmlns:a16="http://schemas.microsoft.com/office/drawing/2014/main" id="{0641DDD1-9D04-47D2-A445-158BCC04161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  <p:sp>
        <p:nvSpPr>
          <p:cNvPr id="26" name="Zástupný obsah 2">
            <a:extLst>
              <a:ext uri="{FF2B5EF4-FFF2-40B4-BE49-F238E27FC236}">
                <a16:creationId xmlns:a16="http://schemas.microsoft.com/office/drawing/2014/main" id="{04ACDA81-8751-49AB-97FB-4BF8241EFBBA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381740" y="1376037"/>
            <a:ext cx="4927108" cy="5152017"/>
          </a:xfrm>
        </p:spPr>
        <p:txBody>
          <a:bodyPr>
            <a:normAutofit/>
          </a:bodyPr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</p:txBody>
      </p:sp>
    </p:spTree>
    <p:extLst>
      <p:ext uri="{BB962C8B-B14F-4D97-AF65-F5344CB8AC3E}">
        <p14:creationId xmlns:p14="http://schemas.microsoft.com/office/powerpoint/2010/main" val="11543316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65D34D94-04F9-4E00-B5C8-BA240CAA9819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6" name="Nadpis 1">
            <a:extLst>
              <a:ext uri="{FF2B5EF4-FFF2-40B4-BE49-F238E27FC236}">
                <a16:creationId xmlns:a16="http://schemas.microsoft.com/office/drawing/2014/main" id="{5E3B3E7F-FC75-4C4E-B4B1-9B56B7FC22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68F80365-EAA4-451F-AF73-86DCFE8AB83A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2" name="Skupina 21">
              <a:extLst>
                <a:ext uri="{FF2B5EF4-FFF2-40B4-BE49-F238E27FC236}">
                  <a16:creationId xmlns:a16="http://schemas.microsoft.com/office/drawing/2014/main" id="{7BB3E92E-B74E-48A9-9E5E-5CA3884CB64E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E8A2959C-9C38-4FE1-857B-E5CE286D30A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5" name="Grafický objekt 24">
                <a:extLst>
                  <a:ext uri="{FF2B5EF4-FFF2-40B4-BE49-F238E27FC236}">
                    <a16:creationId xmlns:a16="http://schemas.microsoft.com/office/drawing/2014/main" id="{BAA2F625-C665-422E-9490-CD15682AFEC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3" name="Obrázek 22" descr="Obsah obrázku kreslení&#10;&#10;Popis byl vytvořen automaticky">
              <a:extLst>
                <a:ext uri="{FF2B5EF4-FFF2-40B4-BE49-F238E27FC236}">
                  <a16:creationId xmlns:a16="http://schemas.microsoft.com/office/drawing/2014/main" id="{4A334F60-C769-4877-A470-32CC5F3F7F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34102808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0CE82392-F9A7-4797-B789-543297A3131F}"/>
              </a:ext>
            </a:extLst>
          </p:cNvPr>
          <p:cNvGrpSpPr/>
          <p:nvPr userDrawn="1"/>
        </p:nvGrpSpPr>
        <p:grpSpPr>
          <a:xfrm>
            <a:off x="9532058" y="94004"/>
            <a:ext cx="2587791" cy="308285"/>
            <a:chOff x="8214317" y="331276"/>
            <a:chExt cx="3881688" cy="450808"/>
          </a:xfrm>
        </p:grpSpPr>
        <p:pic>
          <p:nvPicPr>
            <p:cNvPr id="14" name="Grafický objekt 13">
              <a:extLst>
                <a:ext uri="{FF2B5EF4-FFF2-40B4-BE49-F238E27FC236}">
                  <a16:creationId xmlns:a16="http://schemas.microsoft.com/office/drawing/2014/main" id="{D518AFD1-5C76-435F-900F-DCD04908956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8214317" y="471177"/>
              <a:ext cx="2963998" cy="252000"/>
            </a:xfrm>
            <a:prstGeom prst="rect">
              <a:avLst/>
            </a:prstGeom>
          </p:spPr>
        </p:pic>
        <p:pic>
          <p:nvPicPr>
            <p:cNvPr id="15" name="Obrázek 14" descr="Obsah obrázku kreslení&#10;&#10;Popis byl vytvořen automaticky">
              <a:extLst>
                <a:ext uri="{FF2B5EF4-FFF2-40B4-BE49-F238E27FC236}">
                  <a16:creationId xmlns:a16="http://schemas.microsoft.com/office/drawing/2014/main" id="{54C0D6F4-44CD-4848-AE87-029AA0E556E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31276"/>
              <a:ext cx="665930" cy="450808"/>
            </a:xfrm>
            <a:prstGeom prst="rect">
              <a:avLst/>
            </a:prstGeom>
          </p:spPr>
        </p:pic>
      </p:grpSp>
      <p:pic>
        <p:nvPicPr>
          <p:cNvPr id="2" name="Grafický objekt 1">
            <a:extLst>
              <a:ext uri="{FF2B5EF4-FFF2-40B4-BE49-F238E27FC236}">
                <a16:creationId xmlns:a16="http://schemas.microsoft.com/office/drawing/2014/main" id="{000A9CFE-29F8-4983-92E5-1DE4851C8954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135853" y="101942"/>
            <a:ext cx="1258641" cy="3568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0068148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60820559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obsah, obrázek - inverzní">
    <p:bg>
      <p:bgPr>
        <a:solidFill>
          <a:srgbClr val="D3114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Zástupný obsah 2">
            <a:extLst>
              <a:ext uri="{FF2B5EF4-FFF2-40B4-BE49-F238E27FC236}">
                <a16:creationId xmlns:a16="http://schemas.microsoft.com/office/drawing/2014/main" id="{DD6A7890-1F20-4DA7-AA89-7E104719D3C9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81000" y="1376362"/>
            <a:ext cx="11617349" cy="5132669"/>
          </a:xfrm>
        </p:spPr>
        <p:txBody>
          <a:bodyPr>
            <a:normAutofit/>
          </a:bodyPr>
          <a:lstStyle>
            <a:lvl1pPr marL="228600" indent="-228600">
              <a:buClr>
                <a:schemeClr val="bg1"/>
              </a:buClr>
              <a:buFont typeface="Arial" panose="020B0604020202020204" pitchFamily="34" charset="0"/>
              <a:buChar char="̶"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chemeClr val="bg1"/>
              </a:buClr>
              <a:buFont typeface="Arial" panose="020B0604020202020204" pitchFamily="34" charset="0"/>
              <a:buChar char="̶"/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 dirty="0"/>
              <a:t>První úroveň textu</a:t>
            </a:r>
          </a:p>
          <a:p>
            <a:pPr lvl="1"/>
            <a:r>
              <a:rPr lang="cs-CZ" dirty="0"/>
              <a:t>Druhá úroveň</a:t>
            </a: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66B19D25-1138-4220-A44A-0D4B63C96D9E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13" name="Skupina 12">
              <a:extLst>
                <a:ext uri="{FF2B5EF4-FFF2-40B4-BE49-F238E27FC236}">
                  <a16:creationId xmlns:a16="http://schemas.microsoft.com/office/drawing/2014/main" id="{0039C8DB-5008-4E21-B098-C6CD2E7B851C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18" name="Grafický objekt 17">
                <a:extLst>
                  <a:ext uri="{FF2B5EF4-FFF2-40B4-BE49-F238E27FC236}">
                    <a16:creationId xmlns:a16="http://schemas.microsoft.com/office/drawing/2014/main" id="{9B900898-BE86-488C-8A9B-61767CCBF73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19" name="Grafický objekt 18">
                <a:extLst>
                  <a:ext uri="{FF2B5EF4-FFF2-40B4-BE49-F238E27FC236}">
                    <a16:creationId xmlns:a16="http://schemas.microsoft.com/office/drawing/2014/main" id="{ED01BC9A-8599-4D60-8836-E630D56FCE4B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7" name="Obrázek 16" descr="Obsah obrázku kreslení&#10;&#10;Popis byl vytvořen automaticky">
              <a:extLst>
                <a:ext uri="{FF2B5EF4-FFF2-40B4-BE49-F238E27FC236}">
                  <a16:creationId xmlns:a16="http://schemas.microsoft.com/office/drawing/2014/main" id="{7ECBA0B5-8E5C-4967-8167-2D88E70CA7E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  <p:sp>
        <p:nvSpPr>
          <p:cNvPr id="20" name="Nadpis 1">
            <a:extLst>
              <a:ext uri="{FF2B5EF4-FFF2-40B4-BE49-F238E27FC236}">
                <a16:creationId xmlns:a16="http://schemas.microsoft.com/office/drawing/2014/main" id="{42724F13-0F34-4D06-9D65-59247B61DE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</p:spTree>
    <p:extLst>
      <p:ext uri="{BB962C8B-B14F-4D97-AF65-F5344CB8AC3E}">
        <p14:creationId xmlns:p14="http://schemas.microsoft.com/office/powerpoint/2010/main" val="2920660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1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ředělovac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6EE3335-4CFA-4F78-ACC9-DCDA0C61E0E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B4AA1ACA-170D-42E8-8323-B664F9958C4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8" name="Podnadpis 2">
            <a:extLst>
              <a:ext uri="{FF2B5EF4-FFF2-40B4-BE49-F238E27FC236}">
                <a16:creationId xmlns:a16="http://schemas.microsoft.com/office/drawing/2014/main" id="{3E1FB666-EF45-45A1-80A5-B759B741F87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</a:t>
            </a:r>
          </a:p>
        </p:txBody>
      </p:sp>
      <p:pic>
        <p:nvPicPr>
          <p:cNvPr id="20" name="Obrázek 19" descr="Obsah obrázku kreslení&#10;&#10;Popis byl vytvořen automaticky">
            <a:extLst>
              <a:ext uri="{FF2B5EF4-FFF2-40B4-BE49-F238E27FC236}">
                <a16:creationId xmlns:a16="http://schemas.microsoft.com/office/drawing/2014/main" id="{EA3783B6-FC2A-454B-9F4B-560372C1E03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38748" y="5989948"/>
            <a:ext cx="914504" cy="619083"/>
          </a:xfrm>
          <a:prstGeom prst="rect">
            <a:avLst/>
          </a:prstGeom>
        </p:spPr>
      </p:pic>
      <p:grpSp>
        <p:nvGrpSpPr>
          <p:cNvPr id="15" name="Skupina 14">
            <a:extLst>
              <a:ext uri="{FF2B5EF4-FFF2-40B4-BE49-F238E27FC236}">
                <a16:creationId xmlns:a16="http://schemas.microsoft.com/office/drawing/2014/main" id="{92CD7EB7-A771-4FBB-B8C7-DB5D59BBB75F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6" name="Grafický objekt 15">
              <a:extLst>
                <a:ext uri="{FF2B5EF4-FFF2-40B4-BE49-F238E27FC236}">
                  <a16:creationId xmlns:a16="http://schemas.microsoft.com/office/drawing/2014/main" id="{F450C9B7-74DB-41E6-BE50-75396E9C66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7" name="Grafický objekt 16">
              <a:extLst>
                <a:ext uri="{FF2B5EF4-FFF2-40B4-BE49-F238E27FC236}">
                  <a16:creationId xmlns:a16="http://schemas.microsoft.com/office/drawing/2014/main" id="{857E4D19-AD77-4999-B9C4-830DAE3D801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71153189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 minimaln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Obdélník 7">
            <a:extLst>
              <a:ext uri="{FF2B5EF4-FFF2-40B4-BE49-F238E27FC236}">
                <a16:creationId xmlns:a16="http://schemas.microsoft.com/office/drawing/2014/main" id="{57251005-B581-4C6B-9623-FE7C9E672C61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9" name="Nadpis 1">
            <a:extLst>
              <a:ext uri="{FF2B5EF4-FFF2-40B4-BE49-F238E27FC236}">
                <a16:creationId xmlns:a16="http://schemas.microsoft.com/office/drawing/2014/main" id="{2ABA8342-40EF-4EF8-878F-E756BF1AAB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EC133C2D-E49B-4A76-8E4C-79637436790E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8102342" y="93094"/>
            <a:ext cx="4017507" cy="504000"/>
            <a:chOff x="5972087" y="329946"/>
            <a:chExt cx="6026262" cy="737003"/>
          </a:xfrm>
        </p:grpSpPr>
        <p:grpSp>
          <p:nvGrpSpPr>
            <p:cNvPr id="12" name="Skupina 11">
              <a:extLst>
                <a:ext uri="{FF2B5EF4-FFF2-40B4-BE49-F238E27FC236}">
                  <a16:creationId xmlns:a16="http://schemas.microsoft.com/office/drawing/2014/main" id="{7B0E7EF1-130B-4AF3-9B9B-F57B675459BE}"/>
                </a:ext>
              </a:extLst>
            </p:cNvPr>
            <p:cNvGrpSpPr/>
            <p:nvPr userDrawn="1"/>
          </p:nvGrpSpPr>
          <p:grpSpPr>
            <a:xfrm>
              <a:off x="8116661" y="331276"/>
              <a:ext cx="3881688" cy="450808"/>
              <a:chOff x="8214317" y="331276"/>
              <a:chExt cx="3881688" cy="450808"/>
            </a:xfrm>
          </p:grpSpPr>
          <p:pic>
            <p:nvPicPr>
              <p:cNvPr id="14" name="Grafický objekt 13">
                <a:extLst>
                  <a:ext uri="{FF2B5EF4-FFF2-40B4-BE49-F238E27FC236}">
                    <a16:creationId xmlns:a16="http://schemas.microsoft.com/office/drawing/2014/main" id="{5A70A0E6-773C-4F6E-853C-28A61AEF1D8E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8214317" y="471177"/>
                <a:ext cx="2963998" cy="252000"/>
              </a:xfrm>
              <a:prstGeom prst="rect">
                <a:avLst/>
              </a:prstGeom>
            </p:spPr>
          </p:pic>
          <p:pic>
            <p:nvPicPr>
              <p:cNvPr id="15" name="Obrázek 14" descr="Obsah obrázku kreslení&#10;&#10;Popis byl vytvořen automaticky">
                <a:extLst>
                  <a:ext uri="{FF2B5EF4-FFF2-40B4-BE49-F238E27FC236}">
                    <a16:creationId xmlns:a16="http://schemas.microsoft.com/office/drawing/2014/main" id="{7F95AEA6-4367-4B52-93A3-3068041EC41B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11430075" y="331276"/>
                <a:ext cx="665930" cy="450808"/>
              </a:xfrm>
              <a:prstGeom prst="rect">
                <a:avLst/>
              </a:prstGeom>
            </p:spPr>
          </p:pic>
        </p:grpSp>
        <p:pic>
          <p:nvPicPr>
            <p:cNvPr id="13" name="Grafický objekt 12">
              <a:extLst>
                <a:ext uri="{FF2B5EF4-FFF2-40B4-BE49-F238E27FC236}">
                  <a16:creationId xmlns:a16="http://schemas.microsoft.com/office/drawing/2014/main" id="{ABAFA576-D9BF-4267-9BD2-2B78AD34E655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5" cstate="hq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 t="-1" b="-2685"/>
            <a:stretch/>
          </p:blipFill>
          <p:spPr>
            <a:xfrm>
              <a:off x="5972087" y="329946"/>
              <a:ext cx="1892814" cy="73700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10540704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3877897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0CE82392-F9A7-4797-B789-543297A3131F}"/>
              </a:ext>
            </a:extLst>
          </p:cNvPr>
          <p:cNvGrpSpPr/>
          <p:nvPr userDrawn="1"/>
        </p:nvGrpSpPr>
        <p:grpSpPr>
          <a:xfrm>
            <a:off x="9532058" y="94004"/>
            <a:ext cx="2587791" cy="308285"/>
            <a:chOff x="8214317" y="331276"/>
            <a:chExt cx="3881688" cy="450808"/>
          </a:xfrm>
        </p:grpSpPr>
        <p:pic>
          <p:nvPicPr>
            <p:cNvPr id="14" name="Grafický objekt 13">
              <a:extLst>
                <a:ext uri="{FF2B5EF4-FFF2-40B4-BE49-F238E27FC236}">
                  <a16:creationId xmlns:a16="http://schemas.microsoft.com/office/drawing/2014/main" id="{D518AFD1-5C76-435F-900F-DCD04908956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8214317" y="471177"/>
              <a:ext cx="2963998" cy="252000"/>
            </a:xfrm>
            <a:prstGeom prst="rect">
              <a:avLst/>
            </a:prstGeom>
          </p:spPr>
        </p:pic>
        <p:pic>
          <p:nvPicPr>
            <p:cNvPr id="15" name="Obrázek 14" descr="Obsah obrázku kreslení&#10;&#10;Popis byl vytvořen automaticky">
              <a:extLst>
                <a:ext uri="{FF2B5EF4-FFF2-40B4-BE49-F238E27FC236}">
                  <a16:creationId xmlns:a16="http://schemas.microsoft.com/office/drawing/2014/main" id="{54C0D6F4-44CD-4848-AE87-029AA0E556E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31276"/>
              <a:ext cx="665930" cy="450808"/>
            </a:xfrm>
            <a:prstGeom prst="rect">
              <a:avLst/>
            </a:prstGeom>
          </p:spPr>
        </p:pic>
      </p:grpSp>
      <p:pic>
        <p:nvPicPr>
          <p:cNvPr id="2" name="Grafický objekt 1">
            <a:extLst>
              <a:ext uri="{FF2B5EF4-FFF2-40B4-BE49-F238E27FC236}">
                <a16:creationId xmlns:a16="http://schemas.microsoft.com/office/drawing/2014/main" id="{000A9CFE-29F8-4983-92E5-1DE4851C8954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135853" y="101942"/>
            <a:ext cx="1258641" cy="3568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9683123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CCA52EFB-82F9-447B-B7F3-826EC4CD9CBF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71BE36A2-70AC-4C89-89C4-238AB82AA62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503487"/>
            <a:ext cx="12192000" cy="1189622"/>
          </a:xfrm>
        </p:spPr>
        <p:txBody>
          <a:bodyPr anchor="b"/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DC3DEF16-12AD-4266-89B6-935870F017F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Kliknutím můžete upravit styl předlohy.</a:t>
            </a: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6CF3A5FA-C42D-4E34-9D77-74D10308ACF3}"/>
              </a:ext>
            </a:extLst>
          </p:cNvPr>
          <p:cNvGrpSpPr/>
          <p:nvPr userDrawn="1"/>
        </p:nvGrpSpPr>
        <p:grpSpPr>
          <a:xfrm>
            <a:off x="2325580" y="790894"/>
            <a:ext cx="7540840" cy="921700"/>
            <a:chOff x="2441360" y="790894"/>
            <a:chExt cx="7540840" cy="921700"/>
          </a:xfrm>
        </p:grpSpPr>
        <p:pic>
          <p:nvPicPr>
            <p:cNvPr id="8" name="Obrázek 7">
              <a:extLst>
                <a:ext uri="{FF2B5EF4-FFF2-40B4-BE49-F238E27FC236}">
                  <a16:creationId xmlns:a16="http://schemas.microsoft.com/office/drawing/2014/main" id="{B198CE6B-E463-4B26-AD17-D57305EBAE8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2441360" y="790894"/>
              <a:ext cx="3426781" cy="921700"/>
            </a:xfrm>
            <a:prstGeom prst="rect">
              <a:avLst/>
            </a:prstGeom>
          </p:spPr>
        </p:pic>
        <p:pic>
          <p:nvPicPr>
            <p:cNvPr id="10" name="Obrázek 9">
              <a:extLst>
                <a:ext uri="{FF2B5EF4-FFF2-40B4-BE49-F238E27FC236}">
                  <a16:creationId xmlns:a16="http://schemas.microsoft.com/office/drawing/2014/main" id="{911BFECC-788F-4A5A-B297-6CA8846F017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pic>
        <p:nvPicPr>
          <p:cNvPr id="12" name="Obrázek 11">
            <a:extLst>
              <a:ext uri="{FF2B5EF4-FFF2-40B4-BE49-F238E27FC236}">
                <a16:creationId xmlns:a16="http://schemas.microsoft.com/office/drawing/2014/main" id="{9EE90BA2-9181-43A3-8D17-C7D721FC34C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6040340"/>
            <a:ext cx="964869" cy="639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405204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CBA61EBA-4FFF-4673-9BA0-55E82F99259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66FDA1FA-15B4-46DB-8563-9D168899EC0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/>
              <a:t>Kliknutím můžete upravit styl předlohy.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D0E34FA4-860E-40B4-97AD-3CF9B2CE905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58D0A-07E9-4A68-88A0-7C25FDBBE4AC}" type="datetimeFigureOut">
              <a:rPr lang="cs-CZ" smtClean="0"/>
              <a:t>06.03.2022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0DD889F8-1CC5-41C1-BAF5-5D6BD0F6F5B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EDA22AC9-06BD-4427-B62E-52F6A58CB1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31392184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730E577-8B32-4569-AC3C-76D6F2F6BD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F410C648-E034-410B-B01B-87701C8351F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E05F7769-50EF-4D0F-97C4-6A5E9227B19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58D0A-07E9-4A68-88A0-7C25FDBBE4AC}" type="datetimeFigureOut">
              <a:rPr lang="cs-CZ" smtClean="0"/>
              <a:t>06.03.2022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1B6DB6D5-8367-4F80-AF41-87D069C8037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ADF10414-C935-472D-B8FC-16EBD0EE016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42231850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Záhlaví oddíl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18BCBB21-C0F1-4B2B-8A1C-15DD2EBAB7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A7818461-3C43-44FE-80B9-D048BFA8E55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D107805A-C211-4BDC-8A7C-50C017CDC07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58D0A-07E9-4A68-88A0-7C25FDBBE4AC}" type="datetimeFigureOut">
              <a:rPr lang="cs-CZ" smtClean="0"/>
              <a:t>06.03.2022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5CF91BA1-1C1F-4294-9B84-82D31143C10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AB89D46F-E6FD-4433-AE57-F03CFCFF88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23754551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9.xml"/><Relationship Id="rId7" Type="http://schemas.openxmlformats.org/officeDocument/2006/relationships/slideLayout" Target="../slideLayouts/slideLayout13.xml"/><Relationship Id="rId12" Type="http://schemas.openxmlformats.org/officeDocument/2006/relationships/slideLayout" Target="../slideLayouts/slideLayout18.xml"/><Relationship Id="rId2" Type="http://schemas.openxmlformats.org/officeDocument/2006/relationships/slideLayout" Target="../slideLayouts/slideLayout8.xml"/><Relationship Id="rId1" Type="http://schemas.openxmlformats.org/officeDocument/2006/relationships/slideLayout" Target="../slideLayouts/slideLayout7.xml"/><Relationship Id="rId6" Type="http://schemas.openxmlformats.org/officeDocument/2006/relationships/slideLayout" Target="../slideLayouts/slideLayout12.xml"/><Relationship Id="rId11" Type="http://schemas.openxmlformats.org/officeDocument/2006/relationships/slideLayout" Target="../slideLayouts/slideLayout17.xml"/><Relationship Id="rId5" Type="http://schemas.openxmlformats.org/officeDocument/2006/relationships/slideLayout" Target="../slideLayouts/slideLayout11.xml"/><Relationship Id="rId10" Type="http://schemas.openxmlformats.org/officeDocument/2006/relationships/slideLayout" Target="../slideLayouts/slideLayout16.xml"/><Relationship Id="rId4" Type="http://schemas.openxmlformats.org/officeDocument/2006/relationships/slideLayout" Target="../slideLayouts/slideLayout10.xml"/><Relationship Id="rId9" Type="http://schemas.openxmlformats.org/officeDocument/2006/relationships/slideLayout" Target="../slideLayouts/slideLayout15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6.xml"/><Relationship Id="rId3" Type="http://schemas.openxmlformats.org/officeDocument/2006/relationships/slideLayout" Target="../slideLayouts/slideLayout21.xml"/><Relationship Id="rId7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9.xml"/><Relationship Id="rId6" Type="http://schemas.openxmlformats.org/officeDocument/2006/relationships/slideLayout" Target="../slideLayouts/slideLayout24.xml"/><Relationship Id="rId5" Type="http://schemas.openxmlformats.org/officeDocument/2006/relationships/slideLayout" Target="../slideLayouts/slideLayout23.xml"/><Relationship Id="rId4" Type="http://schemas.openxmlformats.org/officeDocument/2006/relationships/slideLayout" Target="../slideLayouts/slideLayout22.xml"/><Relationship Id="rId9" Type="http://schemas.openxmlformats.org/officeDocument/2006/relationships/theme" Target="../theme/theme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36425653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6" r:id="rId1"/>
    <p:sldLayoutId id="2147483657" r:id="rId2"/>
    <p:sldLayoutId id="2147483663" r:id="rId3"/>
    <p:sldLayoutId id="2147483661" r:id="rId4"/>
    <p:sldLayoutId id="2147483665" r:id="rId5"/>
    <p:sldLayoutId id="2147483672" r:id="rId6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258AF7D2-4ED1-4129-9DE6-4BC40E78BA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84C08E0B-8703-4F4B-A221-FA41C8EDAF1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93CDA1AE-D051-4265-B739-BBADD05EDA5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A058D0A-07E9-4A68-88A0-7C25FDBBE4AC}" type="datetimeFigureOut">
              <a:rPr lang="cs-CZ" smtClean="0"/>
              <a:t>06.03.2022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BAA14082-EF73-46FC-8343-A2A35827776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72998947-0E69-43B5-8B05-739CE4C1B89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95917385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4" r:id="rId1"/>
    <p:sldLayoutId id="2147483675" r:id="rId2"/>
    <p:sldLayoutId id="2147483676" r:id="rId3"/>
    <p:sldLayoutId id="2147483677" r:id="rId4"/>
    <p:sldLayoutId id="2147483678" r:id="rId5"/>
    <p:sldLayoutId id="2147483679" r:id="rId6"/>
    <p:sldLayoutId id="2147483680" r:id="rId7"/>
    <p:sldLayoutId id="2147483681" r:id="rId8"/>
    <p:sldLayoutId id="2147483682" r:id="rId9"/>
    <p:sldLayoutId id="2147483683" r:id="rId10"/>
    <p:sldLayoutId id="2147483684" r:id="rId11"/>
    <p:sldLayoutId id="2147483686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15209713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8" r:id="rId1"/>
    <p:sldLayoutId id="2147483689" r:id="rId2"/>
    <p:sldLayoutId id="2147483690" r:id="rId3"/>
    <p:sldLayoutId id="2147483691" r:id="rId4"/>
    <p:sldLayoutId id="2147483692" r:id="rId5"/>
    <p:sldLayoutId id="2147483693" r:id="rId6"/>
    <p:sldLayoutId id="2147483694" r:id="rId7"/>
    <p:sldLayoutId id="2147483695" r:id="rId8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5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5.xml"/><Relationship Id="rId4" Type="http://schemas.openxmlformats.org/officeDocument/2006/relationships/chart" Target="../charts/chart4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5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5.xml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5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6.xml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5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7.xml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5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5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5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5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5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8.xml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23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9.xml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23.xml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tags" Target="../tags/tag9.xml"/><Relationship Id="rId13" Type="http://schemas.openxmlformats.org/officeDocument/2006/relationships/notesSlide" Target="../notesSlides/notesSlide21.xml"/><Relationship Id="rId3" Type="http://schemas.openxmlformats.org/officeDocument/2006/relationships/tags" Target="../tags/tag4.xml"/><Relationship Id="rId7" Type="http://schemas.openxmlformats.org/officeDocument/2006/relationships/tags" Target="../tags/tag8.xml"/><Relationship Id="rId12" Type="http://schemas.openxmlformats.org/officeDocument/2006/relationships/slideLayout" Target="../slideLayouts/slideLayout8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tags" Target="../tags/tag7.xml"/><Relationship Id="rId11" Type="http://schemas.openxmlformats.org/officeDocument/2006/relationships/tags" Target="../tags/tag12.xml"/><Relationship Id="rId5" Type="http://schemas.openxmlformats.org/officeDocument/2006/relationships/tags" Target="../tags/tag6.xml"/><Relationship Id="rId10" Type="http://schemas.openxmlformats.org/officeDocument/2006/relationships/tags" Target="../tags/tag11.xml"/><Relationship Id="rId4" Type="http://schemas.openxmlformats.org/officeDocument/2006/relationships/tags" Target="../tags/tag5.xml"/><Relationship Id="rId9" Type="http://schemas.openxmlformats.org/officeDocument/2006/relationships/tags" Target="../tags/tag10.xml"/><Relationship Id="rId14" Type="http://schemas.openxmlformats.org/officeDocument/2006/relationships/chart" Target="../charts/chart10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8.xml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4" Type="http://schemas.openxmlformats.org/officeDocument/2006/relationships/chart" Target="../charts/chart11.xml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tags" Target="../tags/tag22.xml"/><Relationship Id="rId13" Type="http://schemas.openxmlformats.org/officeDocument/2006/relationships/slideLayout" Target="../slideLayouts/slideLayout8.xml"/><Relationship Id="rId3" Type="http://schemas.openxmlformats.org/officeDocument/2006/relationships/tags" Target="../tags/tag17.xml"/><Relationship Id="rId7" Type="http://schemas.openxmlformats.org/officeDocument/2006/relationships/tags" Target="../tags/tag21.xml"/><Relationship Id="rId12" Type="http://schemas.openxmlformats.org/officeDocument/2006/relationships/tags" Target="../tags/tag26.xml"/><Relationship Id="rId2" Type="http://schemas.openxmlformats.org/officeDocument/2006/relationships/tags" Target="../tags/tag16.xml"/><Relationship Id="rId16" Type="http://schemas.openxmlformats.org/officeDocument/2006/relationships/chart" Target="../charts/chart13.xml"/><Relationship Id="rId1" Type="http://schemas.openxmlformats.org/officeDocument/2006/relationships/tags" Target="../tags/tag15.xml"/><Relationship Id="rId6" Type="http://schemas.openxmlformats.org/officeDocument/2006/relationships/tags" Target="../tags/tag20.xml"/><Relationship Id="rId11" Type="http://schemas.openxmlformats.org/officeDocument/2006/relationships/tags" Target="../tags/tag25.xml"/><Relationship Id="rId5" Type="http://schemas.openxmlformats.org/officeDocument/2006/relationships/tags" Target="../tags/tag19.xml"/><Relationship Id="rId15" Type="http://schemas.openxmlformats.org/officeDocument/2006/relationships/chart" Target="../charts/chart12.xml"/><Relationship Id="rId10" Type="http://schemas.openxmlformats.org/officeDocument/2006/relationships/tags" Target="../tags/tag24.xml"/><Relationship Id="rId4" Type="http://schemas.openxmlformats.org/officeDocument/2006/relationships/tags" Target="../tags/tag18.xml"/><Relationship Id="rId9" Type="http://schemas.openxmlformats.org/officeDocument/2006/relationships/tags" Target="../tags/tag23.xml"/><Relationship Id="rId14" Type="http://schemas.openxmlformats.org/officeDocument/2006/relationships/notesSlide" Target="../notesSlides/notesSlide22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8.xml"/><Relationship Id="rId2" Type="http://schemas.openxmlformats.org/officeDocument/2006/relationships/tags" Target="../tags/tag28.xml"/><Relationship Id="rId1" Type="http://schemas.openxmlformats.org/officeDocument/2006/relationships/tags" Target="../tags/tag27.xml"/><Relationship Id="rId4" Type="http://schemas.openxmlformats.org/officeDocument/2006/relationships/chart" Target="../charts/chart14.xml"/></Relationships>
</file>

<file path=ppt/slides/_rels/slide28.xml.rels><?xml version="1.0" encoding="UTF-8" standalone="yes"?>
<Relationships xmlns="http://schemas.openxmlformats.org/package/2006/relationships"><Relationship Id="rId8" Type="http://schemas.openxmlformats.org/officeDocument/2006/relationships/tags" Target="../tags/tag36.xml"/><Relationship Id="rId13" Type="http://schemas.openxmlformats.org/officeDocument/2006/relationships/notesSlide" Target="../notesSlides/notesSlide23.xml"/><Relationship Id="rId3" Type="http://schemas.openxmlformats.org/officeDocument/2006/relationships/tags" Target="../tags/tag31.xml"/><Relationship Id="rId7" Type="http://schemas.openxmlformats.org/officeDocument/2006/relationships/tags" Target="../tags/tag35.xml"/><Relationship Id="rId12" Type="http://schemas.openxmlformats.org/officeDocument/2006/relationships/slideLayout" Target="../slideLayouts/slideLayout8.xml"/><Relationship Id="rId2" Type="http://schemas.openxmlformats.org/officeDocument/2006/relationships/tags" Target="../tags/tag30.xml"/><Relationship Id="rId1" Type="http://schemas.openxmlformats.org/officeDocument/2006/relationships/tags" Target="../tags/tag29.xml"/><Relationship Id="rId6" Type="http://schemas.openxmlformats.org/officeDocument/2006/relationships/tags" Target="../tags/tag34.xml"/><Relationship Id="rId11" Type="http://schemas.openxmlformats.org/officeDocument/2006/relationships/tags" Target="../tags/tag39.xml"/><Relationship Id="rId5" Type="http://schemas.openxmlformats.org/officeDocument/2006/relationships/tags" Target="../tags/tag33.xml"/><Relationship Id="rId10" Type="http://schemas.openxmlformats.org/officeDocument/2006/relationships/tags" Target="../tags/tag38.xml"/><Relationship Id="rId4" Type="http://schemas.openxmlformats.org/officeDocument/2006/relationships/tags" Target="../tags/tag32.xml"/><Relationship Id="rId9" Type="http://schemas.openxmlformats.org/officeDocument/2006/relationships/tags" Target="../tags/tag37.xml"/><Relationship Id="rId14" Type="http://schemas.openxmlformats.org/officeDocument/2006/relationships/chart" Target="../charts/chart15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8.xml"/><Relationship Id="rId2" Type="http://schemas.openxmlformats.org/officeDocument/2006/relationships/tags" Target="../tags/tag41.xml"/><Relationship Id="rId1" Type="http://schemas.openxmlformats.org/officeDocument/2006/relationships/tags" Target="../tags/tag40.xml"/><Relationship Id="rId4" Type="http://schemas.openxmlformats.org/officeDocument/2006/relationships/chart" Target="../charts/chart16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.xml"/></Relationships>
</file>

<file path=ppt/slides/_rels/slide30.xml.rels><?xml version="1.0" encoding="UTF-8" standalone="yes"?>
<Relationships xmlns="http://schemas.openxmlformats.org/package/2006/relationships"><Relationship Id="rId8" Type="http://schemas.openxmlformats.org/officeDocument/2006/relationships/tags" Target="../tags/tag49.xml"/><Relationship Id="rId13" Type="http://schemas.openxmlformats.org/officeDocument/2006/relationships/notesSlide" Target="../notesSlides/notesSlide24.xml"/><Relationship Id="rId3" Type="http://schemas.openxmlformats.org/officeDocument/2006/relationships/tags" Target="../tags/tag44.xml"/><Relationship Id="rId7" Type="http://schemas.openxmlformats.org/officeDocument/2006/relationships/tags" Target="../tags/tag48.xml"/><Relationship Id="rId12" Type="http://schemas.openxmlformats.org/officeDocument/2006/relationships/slideLayout" Target="../slideLayouts/slideLayout8.xml"/><Relationship Id="rId2" Type="http://schemas.openxmlformats.org/officeDocument/2006/relationships/tags" Target="../tags/tag43.xml"/><Relationship Id="rId1" Type="http://schemas.openxmlformats.org/officeDocument/2006/relationships/tags" Target="../tags/tag42.xml"/><Relationship Id="rId6" Type="http://schemas.openxmlformats.org/officeDocument/2006/relationships/tags" Target="../tags/tag47.xml"/><Relationship Id="rId11" Type="http://schemas.openxmlformats.org/officeDocument/2006/relationships/tags" Target="../tags/tag52.xml"/><Relationship Id="rId5" Type="http://schemas.openxmlformats.org/officeDocument/2006/relationships/tags" Target="../tags/tag46.xml"/><Relationship Id="rId10" Type="http://schemas.openxmlformats.org/officeDocument/2006/relationships/tags" Target="../tags/tag51.xml"/><Relationship Id="rId4" Type="http://schemas.openxmlformats.org/officeDocument/2006/relationships/tags" Target="../tags/tag45.xml"/><Relationship Id="rId9" Type="http://schemas.openxmlformats.org/officeDocument/2006/relationships/tags" Target="../tags/tag50.xml"/><Relationship Id="rId14" Type="http://schemas.openxmlformats.org/officeDocument/2006/relationships/chart" Target="../charts/chart17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23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23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tags" Target="../tags/tag55.xml"/><Relationship Id="rId2" Type="http://schemas.openxmlformats.org/officeDocument/2006/relationships/tags" Target="../tags/tag54.xml"/><Relationship Id="rId1" Type="http://schemas.openxmlformats.org/officeDocument/2006/relationships/tags" Target="../tags/tag53.xml"/><Relationship Id="rId6" Type="http://schemas.openxmlformats.org/officeDocument/2006/relationships/chart" Target="../charts/chart18.xml"/><Relationship Id="rId5" Type="http://schemas.openxmlformats.org/officeDocument/2006/relationships/slideLayout" Target="../slideLayouts/slideLayout18.xml"/><Relationship Id="rId4" Type="http://schemas.openxmlformats.org/officeDocument/2006/relationships/tags" Target="../tags/tag56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tags" Target="../tags/tag59.xml"/><Relationship Id="rId7" Type="http://schemas.openxmlformats.org/officeDocument/2006/relationships/slideLayout" Target="../slideLayouts/slideLayout8.xml"/><Relationship Id="rId2" Type="http://schemas.openxmlformats.org/officeDocument/2006/relationships/tags" Target="../tags/tag58.xml"/><Relationship Id="rId1" Type="http://schemas.openxmlformats.org/officeDocument/2006/relationships/tags" Target="../tags/tag57.xml"/><Relationship Id="rId6" Type="http://schemas.openxmlformats.org/officeDocument/2006/relationships/tags" Target="../tags/tag62.xml"/><Relationship Id="rId5" Type="http://schemas.openxmlformats.org/officeDocument/2006/relationships/tags" Target="../tags/tag61.xml"/><Relationship Id="rId4" Type="http://schemas.openxmlformats.org/officeDocument/2006/relationships/tags" Target="../tags/tag60.xm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9.xml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23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3.xml"/><Relationship Id="rId2" Type="http://schemas.openxmlformats.org/officeDocument/2006/relationships/tags" Target="../tags/tag64.xml"/><Relationship Id="rId1" Type="http://schemas.openxmlformats.org/officeDocument/2006/relationships/tags" Target="../tags/tag63.xml"/><Relationship Id="rId4" Type="http://schemas.openxmlformats.org/officeDocument/2006/relationships/chart" Target="../charts/chart20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5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5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5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adpis 1"/>
          <p:cNvSpPr txBox="1">
            <a:spLocks/>
          </p:cNvSpPr>
          <p:nvPr/>
        </p:nvSpPr>
        <p:spPr>
          <a:xfrm>
            <a:off x="0" y="3900347"/>
            <a:ext cx="12192000" cy="1534294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b="1" kern="12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4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Zdravotničtí pracovníci: souhrnný přehled stavu očkování a zátěže COVID-19</a:t>
            </a:r>
          </a:p>
        </p:txBody>
      </p:sp>
      <p:sp>
        <p:nvSpPr>
          <p:cNvPr id="5" name="Nadpis 1"/>
          <p:cNvSpPr txBox="1">
            <a:spLocks/>
          </p:cNvSpPr>
          <p:nvPr/>
        </p:nvSpPr>
        <p:spPr>
          <a:xfrm>
            <a:off x="73152" y="1801368"/>
            <a:ext cx="12192000" cy="1690573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97500"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b="1" kern="12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4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Stav a vývoj epidemie COVID-19 </a:t>
            </a:r>
            <a:br>
              <a:rPr kumimoji="0" lang="cs-CZ" sz="4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</a:br>
            <a:r>
              <a:rPr kumimoji="0" lang="cs-CZ" sz="4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v dostupných datech</a:t>
            </a:r>
          </a:p>
        </p:txBody>
      </p:sp>
    </p:spTree>
    <p:extLst>
      <p:ext uri="{BB962C8B-B14F-4D97-AF65-F5344CB8AC3E}">
        <p14:creationId xmlns:p14="http://schemas.microsoft.com/office/powerpoint/2010/main" val="119043599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7785" y="0"/>
            <a:ext cx="7434501" cy="576000"/>
          </a:xfrm>
        </p:spPr>
        <p:txBody>
          <a:bodyPr/>
          <a:lstStyle/>
          <a:p>
            <a:r>
              <a:rPr lang="cs-CZ" dirty="0"/>
              <a:t>Očkování zdravotnických pracovníků </a:t>
            </a:r>
          </a:p>
        </p:txBody>
      </p:sp>
      <p:sp>
        <p:nvSpPr>
          <p:cNvPr id="10" name="Obdélník 9">
            <a:extLst>
              <a:ext uri="{FF2B5EF4-FFF2-40B4-BE49-F238E27FC236}">
                <a16:creationId xmlns:a16="http://schemas.microsoft.com/office/drawing/2014/main" id="{7B7EAFED-3EEF-49DD-829E-67841604FA64}"/>
              </a:ext>
            </a:extLst>
          </p:cNvPr>
          <p:cNvSpPr/>
          <p:nvPr/>
        </p:nvSpPr>
        <p:spPr>
          <a:xfrm>
            <a:off x="169149" y="1996486"/>
            <a:ext cx="11853702" cy="304698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2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ysoká úroveň proočkovanosti je patrná u pracovníků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2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 akutní lůžkové péči a v záchranné zdravotnické službě: lékaři 88 % a sestry 84 %. Přesto </a:t>
            </a:r>
            <a:r>
              <a:rPr lang="cs-CZ" sz="3200" b="1" dirty="0">
                <a:latin typeface="Arial" panose="020B0604020202020204"/>
              </a:rPr>
              <a:t>i v této kategorii existuje prostor k posílení očkování, zejména v některých moravských regionech. </a:t>
            </a:r>
            <a:endParaRPr kumimoji="0" lang="cs-CZ" sz="32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32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1" name="Šipka dolů 10"/>
          <p:cNvSpPr/>
          <p:nvPr/>
        </p:nvSpPr>
        <p:spPr>
          <a:xfrm>
            <a:off x="5390575" y="4652888"/>
            <a:ext cx="1164566" cy="483109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7490957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2538" y="0"/>
            <a:ext cx="8037065" cy="576000"/>
          </a:xfrm>
        </p:spPr>
        <p:txBody>
          <a:bodyPr/>
          <a:lstStyle/>
          <a:p>
            <a:r>
              <a:rPr lang="cs-CZ" dirty="0"/>
              <a:t>Očkovaní zdravotníci v nemocnicích akutní lůžkové péče a ZZS</a:t>
            </a:r>
          </a:p>
        </p:txBody>
      </p:sp>
      <p:graphicFrame>
        <p:nvGraphicFramePr>
          <p:cNvPr id="9" name="Chart 6">
            <a:extLst>
              <a:ext uri="{FF2B5EF4-FFF2-40B4-BE49-F238E27FC236}">
                <a16:creationId xmlns:a16="http://schemas.microsoft.com/office/drawing/2014/main" id="{95B21923-74CC-4971-8ACF-75603B949F8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244352142"/>
              </p:ext>
            </p:extLst>
          </p:nvPr>
        </p:nvGraphicFramePr>
        <p:xfrm>
          <a:off x="10136" y="1281717"/>
          <a:ext cx="5060115" cy="511840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0" name="TextBox 7">
            <a:extLst>
              <a:ext uri="{FF2B5EF4-FFF2-40B4-BE49-F238E27FC236}">
                <a16:creationId xmlns:a16="http://schemas.microsoft.com/office/drawing/2014/main" id="{859ED9E0-6A53-405A-BD02-85A115DFB578}"/>
              </a:ext>
            </a:extLst>
          </p:cNvPr>
          <p:cNvSpPr txBox="1"/>
          <p:nvPr/>
        </p:nvSpPr>
        <p:spPr>
          <a:xfrm>
            <a:off x="1653004" y="1079435"/>
            <a:ext cx="317617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200" b="1" dirty="0"/>
              <a:t>Podíl vakcinovaných (%)</a:t>
            </a:r>
          </a:p>
        </p:txBody>
      </p:sp>
      <p:graphicFrame>
        <p:nvGraphicFramePr>
          <p:cNvPr id="12" name="Tabulka 11">
            <a:extLst>
              <a:ext uri="{FF2B5EF4-FFF2-40B4-BE49-F238E27FC236}">
                <a16:creationId xmlns:a16="http://schemas.microsoft.com/office/drawing/2014/main" id="{8DE006A4-47CC-483A-94C2-37A91796F02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11362397"/>
              </p:ext>
            </p:extLst>
          </p:nvPr>
        </p:nvGraphicFramePr>
        <p:xfrm>
          <a:off x="5070251" y="1245141"/>
          <a:ext cx="1013589" cy="5010075"/>
        </p:xfrm>
        <a:graphic>
          <a:graphicData uri="http://schemas.openxmlformats.org/drawingml/2006/table">
            <a:tbl>
              <a:tblPr/>
              <a:tblGrid>
                <a:gridCol w="1013589">
                  <a:extLst>
                    <a:ext uri="{9D8B030D-6E8A-4147-A177-3AD203B41FA5}">
                      <a16:colId xmlns:a16="http://schemas.microsoft.com/office/drawing/2014/main" val="1754736106"/>
                    </a:ext>
                  </a:extLst>
                </a:gridCol>
              </a:tblGrid>
              <a:tr h="29721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očet očkovaných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97874361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74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71362382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15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38109056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78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90199693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19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46217483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06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65343237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85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90531042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20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05882648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85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10276534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20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88172261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9 19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02471657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92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02659568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31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99396529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76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936740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32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27829571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0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77793540"/>
                  </a:ext>
                </a:extLst>
              </a:tr>
            </a:tbl>
          </a:graphicData>
        </a:graphic>
      </p:graphicFrame>
      <p:sp>
        <p:nvSpPr>
          <p:cNvPr id="13" name="Obdélník 12">
            <a:extLst>
              <a:ext uri="{FF2B5EF4-FFF2-40B4-BE49-F238E27FC236}">
                <a16:creationId xmlns:a16="http://schemas.microsoft.com/office/drawing/2014/main" id="{A045BA81-95DE-42BA-99D6-CBB4DCCC5501}"/>
              </a:ext>
            </a:extLst>
          </p:cNvPr>
          <p:cNvSpPr/>
          <p:nvPr/>
        </p:nvSpPr>
        <p:spPr>
          <a:xfrm>
            <a:off x="172060" y="6354140"/>
            <a:ext cx="8105165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cs-CZ" sz="1100" dirty="0"/>
              <a:t>Do analýzy jsou zahrnuti pouze zdravotničtí pracovníci nahlášení poskytovateli zdravotnických služeb jako aktuálně zaměstnaní.</a:t>
            </a:r>
          </a:p>
          <a:p>
            <a:r>
              <a:rPr lang="cs-CZ" sz="1100" dirty="0"/>
              <a:t>Zdroj: Národní registr zdravotnických pracovníků (NRZP), ÚZIS ČR; Informační systém infekční nemoci (ISIN) </a:t>
            </a:r>
          </a:p>
        </p:txBody>
      </p:sp>
      <p:sp>
        <p:nvSpPr>
          <p:cNvPr id="14" name="TextBox 7">
            <a:extLst>
              <a:ext uri="{FF2B5EF4-FFF2-40B4-BE49-F238E27FC236}">
                <a16:creationId xmlns:a16="http://schemas.microsoft.com/office/drawing/2014/main" id="{F1F59839-6B54-4C6A-814C-0F7D2FA4596F}"/>
              </a:ext>
            </a:extLst>
          </p:cNvPr>
          <p:cNvSpPr txBox="1"/>
          <p:nvPr/>
        </p:nvSpPr>
        <p:spPr>
          <a:xfrm>
            <a:off x="267310" y="725400"/>
            <a:ext cx="533339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b="1" dirty="0"/>
              <a:t>Lékaři </a:t>
            </a:r>
            <a:r>
              <a:rPr lang="cs-CZ" sz="1400" dirty="0"/>
              <a:t>(včetně zubních lékařů)</a:t>
            </a:r>
            <a:endParaRPr lang="cs-CZ" dirty="0"/>
          </a:p>
        </p:txBody>
      </p:sp>
      <p:graphicFrame>
        <p:nvGraphicFramePr>
          <p:cNvPr id="15" name="Chart 6">
            <a:extLst>
              <a:ext uri="{FF2B5EF4-FFF2-40B4-BE49-F238E27FC236}">
                <a16:creationId xmlns:a16="http://schemas.microsoft.com/office/drawing/2014/main" id="{04728811-3D14-4440-A95A-65B5E4851AE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693987928"/>
              </p:ext>
            </p:extLst>
          </p:nvPr>
        </p:nvGraphicFramePr>
        <p:xfrm>
          <a:off x="6185074" y="1281717"/>
          <a:ext cx="5060115" cy="511840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6" name="TextBox 7">
            <a:extLst>
              <a:ext uri="{FF2B5EF4-FFF2-40B4-BE49-F238E27FC236}">
                <a16:creationId xmlns:a16="http://schemas.microsoft.com/office/drawing/2014/main" id="{68CBEAFC-AB11-4E0B-8467-5B7AAE3834DA}"/>
              </a:ext>
            </a:extLst>
          </p:cNvPr>
          <p:cNvSpPr txBox="1"/>
          <p:nvPr/>
        </p:nvSpPr>
        <p:spPr>
          <a:xfrm>
            <a:off x="7827942" y="1079435"/>
            <a:ext cx="317617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200" b="1" dirty="0"/>
              <a:t>Podíl vakcinovaných (%)</a:t>
            </a:r>
          </a:p>
        </p:txBody>
      </p:sp>
      <p:graphicFrame>
        <p:nvGraphicFramePr>
          <p:cNvPr id="17" name="Tabulka 16">
            <a:extLst>
              <a:ext uri="{FF2B5EF4-FFF2-40B4-BE49-F238E27FC236}">
                <a16:creationId xmlns:a16="http://schemas.microsoft.com/office/drawing/2014/main" id="{38E50632-3864-418D-91C6-3A9FEBF8126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48970306"/>
              </p:ext>
            </p:extLst>
          </p:nvPr>
        </p:nvGraphicFramePr>
        <p:xfrm>
          <a:off x="11181969" y="1244893"/>
          <a:ext cx="950976" cy="5010075"/>
        </p:xfrm>
        <a:graphic>
          <a:graphicData uri="http://schemas.openxmlformats.org/drawingml/2006/table">
            <a:tbl>
              <a:tblPr/>
              <a:tblGrid>
                <a:gridCol w="950976">
                  <a:extLst>
                    <a:ext uri="{9D8B030D-6E8A-4147-A177-3AD203B41FA5}">
                      <a16:colId xmlns:a16="http://schemas.microsoft.com/office/drawing/2014/main" val="1754736106"/>
                    </a:ext>
                  </a:extLst>
                </a:gridCol>
              </a:tblGrid>
              <a:tr h="29721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očet očkovaných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97874361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95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71362382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16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38109056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97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90199693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73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46217483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39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65343237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43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90531042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23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05882648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25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10276534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39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88172261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7 49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02471657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30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02659568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26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99396529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71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936740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72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27829571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42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77793540"/>
                  </a:ext>
                </a:extLst>
              </a:tr>
            </a:tbl>
          </a:graphicData>
        </a:graphic>
      </p:graphicFrame>
      <p:sp>
        <p:nvSpPr>
          <p:cNvPr id="18" name="TextBox 7">
            <a:extLst>
              <a:ext uri="{FF2B5EF4-FFF2-40B4-BE49-F238E27FC236}">
                <a16:creationId xmlns:a16="http://schemas.microsoft.com/office/drawing/2014/main" id="{0A250D1E-21AE-452B-8E14-DA72C406298D}"/>
              </a:ext>
            </a:extLst>
          </p:cNvPr>
          <p:cNvSpPr txBox="1"/>
          <p:nvPr/>
        </p:nvSpPr>
        <p:spPr>
          <a:xfrm>
            <a:off x="6442248" y="725400"/>
            <a:ext cx="533339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b="1" dirty="0"/>
              <a:t>Sestry*</a:t>
            </a:r>
            <a:endParaRPr lang="cs-CZ" dirty="0"/>
          </a:p>
        </p:txBody>
      </p:sp>
      <p:sp>
        <p:nvSpPr>
          <p:cNvPr id="19" name="Obdélník 18">
            <a:extLst>
              <a:ext uri="{FF2B5EF4-FFF2-40B4-BE49-F238E27FC236}">
                <a16:creationId xmlns:a16="http://schemas.microsoft.com/office/drawing/2014/main" id="{9FD5F7F0-9879-44F5-8A51-0926E63C659F}"/>
              </a:ext>
            </a:extLst>
          </p:cNvPr>
          <p:cNvSpPr/>
          <p:nvPr/>
        </p:nvSpPr>
        <p:spPr>
          <a:xfrm>
            <a:off x="8410574" y="6354140"/>
            <a:ext cx="3429002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cs-CZ" sz="1100" b="1" dirty="0"/>
              <a:t>*Sestry</a:t>
            </a:r>
            <a:r>
              <a:rPr lang="cs-CZ" sz="1100" dirty="0"/>
              <a:t> - § 5 Všeobecná sestra, § 5a Dětská sestra, § 6 Porodní asistentka, § 21b Praktická sestra</a:t>
            </a:r>
          </a:p>
        </p:txBody>
      </p:sp>
      <p:sp>
        <p:nvSpPr>
          <p:cNvPr id="20" name="TextBox 6">
            <a:extLst>
              <a:ext uri="{FF2B5EF4-FFF2-40B4-BE49-F238E27FC236}">
                <a16:creationId xmlns:a16="http://schemas.microsoft.com/office/drawing/2014/main" id="{0D1107EB-D187-4678-AF28-2A18CAE50957}"/>
              </a:ext>
            </a:extLst>
          </p:cNvPr>
          <p:cNvSpPr txBox="1"/>
          <p:nvPr/>
        </p:nvSpPr>
        <p:spPr>
          <a:xfrm>
            <a:off x="5427835" y="596549"/>
            <a:ext cx="200977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>
              <a:defRPr/>
            </a:pPr>
            <a:r>
              <a:rPr lang="cs-CZ" sz="1400" b="1" dirty="0"/>
              <a:t>Stav k 4. 3. 2022 </a:t>
            </a:r>
          </a:p>
        </p:txBody>
      </p:sp>
    </p:spTree>
    <p:extLst>
      <p:ext uri="{BB962C8B-B14F-4D97-AF65-F5344CB8AC3E}">
        <p14:creationId xmlns:p14="http://schemas.microsoft.com/office/powerpoint/2010/main" val="297169615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7785" y="0"/>
            <a:ext cx="7434501" cy="576000"/>
          </a:xfrm>
        </p:spPr>
        <p:txBody>
          <a:bodyPr/>
          <a:lstStyle/>
          <a:p>
            <a:r>
              <a:rPr lang="cs-CZ" dirty="0"/>
              <a:t>Očkování zdravotnických pracovníků </a:t>
            </a:r>
          </a:p>
        </p:txBody>
      </p:sp>
      <p:sp>
        <p:nvSpPr>
          <p:cNvPr id="3" name="Obdélník 2">
            <a:extLst>
              <a:ext uri="{FF2B5EF4-FFF2-40B4-BE49-F238E27FC236}">
                <a16:creationId xmlns:a16="http://schemas.microsoft.com/office/drawing/2014/main" id="{7B7EAFED-3EEF-49DD-829E-67841604FA64}"/>
              </a:ext>
            </a:extLst>
          </p:cNvPr>
          <p:cNvSpPr/>
          <p:nvPr/>
        </p:nvSpPr>
        <p:spPr>
          <a:xfrm>
            <a:off x="552450" y="833301"/>
            <a:ext cx="11039475" cy="14773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ezi skupinami zdravotnických pracovníků je nejnižší proočkovanost u nelékařských zdravotnických pracovníků, která dosahuje 81 %.</a:t>
            </a:r>
          </a:p>
        </p:txBody>
      </p:sp>
      <p:sp>
        <p:nvSpPr>
          <p:cNvPr id="10" name="Obdélník 9">
            <a:extLst>
              <a:ext uri="{FF2B5EF4-FFF2-40B4-BE49-F238E27FC236}">
                <a16:creationId xmlns:a16="http://schemas.microsoft.com/office/drawing/2014/main" id="{7B7EAFED-3EEF-49DD-829E-67841604FA64}"/>
              </a:ext>
            </a:extLst>
          </p:cNvPr>
          <p:cNvSpPr/>
          <p:nvPr/>
        </p:nvSpPr>
        <p:spPr>
          <a:xfrm>
            <a:off x="173256" y="3241554"/>
            <a:ext cx="11853702" cy="25545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apř. profese sanitáře a fyzioterapeuta patřila mezi nejčastěji nakažené, jak dokládají reprezentativní data. Přitom jde o pracovníky s velkým počtem kontaktů ve zdravotnických zařízeních. Posílení očkování i u těchto zdravotnických profesí je potřebné. </a:t>
            </a:r>
          </a:p>
        </p:txBody>
      </p:sp>
      <p:sp>
        <p:nvSpPr>
          <p:cNvPr id="11" name="Šipka dolů 10"/>
          <p:cNvSpPr/>
          <p:nvPr/>
        </p:nvSpPr>
        <p:spPr>
          <a:xfrm>
            <a:off x="5289224" y="6024699"/>
            <a:ext cx="1164566" cy="483109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" name="Šipka dolů 11"/>
          <p:cNvSpPr/>
          <p:nvPr/>
        </p:nvSpPr>
        <p:spPr>
          <a:xfrm>
            <a:off x="5289224" y="2568347"/>
            <a:ext cx="1164566" cy="483109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233007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Graf 17">
            <a:extLst>
              <a:ext uri="{FF2B5EF4-FFF2-40B4-BE49-F238E27FC236}">
                <a16:creationId xmlns:a16="http://schemas.microsoft.com/office/drawing/2014/main" id="{67714BB1-BEFB-4B6A-BA4B-87D00EC0BC8B}"/>
              </a:ext>
            </a:extLst>
          </p:cNvPr>
          <p:cNvGraphicFramePr/>
          <p:nvPr/>
        </p:nvGraphicFramePr>
        <p:xfrm>
          <a:off x="40511" y="729673"/>
          <a:ext cx="11855235" cy="586734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7" name="TextovéPole 6">
            <a:extLst>
              <a:ext uri="{FF2B5EF4-FFF2-40B4-BE49-F238E27FC236}">
                <a16:creationId xmlns:a16="http://schemas.microsoft.com/office/drawing/2014/main" id="{D287B611-02D0-49D2-B339-A7B816C3C828}"/>
              </a:ext>
            </a:extLst>
          </p:cNvPr>
          <p:cNvSpPr txBox="1"/>
          <p:nvPr/>
        </p:nvSpPr>
        <p:spPr>
          <a:xfrm>
            <a:off x="2162175" y="6583202"/>
            <a:ext cx="7665489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Národní zdravotnický informační systém, ISIN – Informační systém infekční nemocí</a:t>
            </a:r>
            <a:endParaRPr kumimoji="0" lang="cs-CZ" sz="11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CE02CAE-4282-4A4F-990C-53954F77CB4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557303" cy="576000"/>
          </a:xfrm>
        </p:spPr>
        <p:txBody>
          <a:bodyPr/>
          <a:lstStyle/>
          <a:p>
            <a:r>
              <a:rPr lang="cs-CZ" dirty="0"/>
              <a:t>Přehled povolání u COVID-19 pozitivních ostatních zdravotnických pracovníků za období 01/2021 – 03/2022</a:t>
            </a:r>
          </a:p>
        </p:txBody>
      </p:sp>
      <p:sp>
        <p:nvSpPr>
          <p:cNvPr id="5" name="Obdélník 4">
            <a:extLst>
              <a:ext uri="{FF2B5EF4-FFF2-40B4-BE49-F238E27FC236}">
                <a16:creationId xmlns:a16="http://schemas.microsoft.com/office/drawing/2014/main" id="{FDB5357A-74B2-4F73-9151-19DFF199B935}"/>
              </a:ext>
            </a:extLst>
          </p:cNvPr>
          <p:cNvSpPr/>
          <p:nvPr/>
        </p:nvSpPr>
        <p:spPr>
          <a:xfrm>
            <a:off x="261654" y="846827"/>
            <a:ext cx="380104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čty známých pracovních pozic</a:t>
            </a:r>
          </a:p>
        </p:txBody>
      </p:sp>
      <p:sp>
        <p:nvSpPr>
          <p:cNvPr id="8" name="TextBox 6">
            <a:extLst>
              <a:ext uri="{FF2B5EF4-FFF2-40B4-BE49-F238E27FC236}">
                <a16:creationId xmlns:a16="http://schemas.microsoft.com/office/drawing/2014/main" id="{0553929A-22E7-4A3C-B2A6-F2301789E83D}"/>
              </a:ext>
            </a:extLst>
          </p:cNvPr>
          <p:cNvSpPr txBox="1"/>
          <p:nvPr/>
        </p:nvSpPr>
        <p:spPr>
          <a:xfrm>
            <a:off x="9847292" y="6560118"/>
            <a:ext cx="200977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>
              <a:defRPr/>
            </a:pPr>
            <a:r>
              <a:rPr lang="cs-CZ" sz="1200" b="1" dirty="0"/>
              <a:t>Stav k 4. 3. 2022</a:t>
            </a:r>
          </a:p>
        </p:txBody>
      </p:sp>
    </p:spTree>
    <p:extLst>
      <p:ext uri="{BB962C8B-B14F-4D97-AF65-F5344CB8AC3E}">
        <p14:creationId xmlns:p14="http://schemas.microsoft.com/office/powerpoint/2010/main" val="208284595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Graf 17">
            <a:extLst>
              <a:ext uri="{FF2B5EF4-FFF2-40B4-BE49-F238E27FC236}">
                <a16:creationId xmlns:a16="http://schemas.microsoft.com/office/drawing/2014/main" id="{67714BB1-BEFB-4B6A-BA4B-87D00EC0BC8B}"/>
              </a:ext>
            </a:extLst>
          </p:cNvPr>
          <p:cNvGraphicFramePr/>
          <p:nvPr/>
        </p:nvGraphicFramePr>
        <p:xfrm>
          <a:off x="40511" y="729673"/>
          <a:ext cx="11855235" cy="586734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7" name="TextovéPole 6">
            <a:extLst>
              <a:ext uri="{FF2B5EF4-FFF2-40B4-BE49-F238E27FC236}">
                <a16:creationId xmlns:a16="http://schemas.microsoft.com/office/drawing/2014/main" id="{D287B611-02D0-49D2-B339-A7B816C3C828}"/>
              </a:ext>
            </a:extLst>
          </p:cNvPr>
          <p:cNvSpPr txBox="1"/>
          <p:nvPr/>
        </p:nvSpPr>
        <p:spPr>
          <a:xfrm>
            <a:off x="2162175" y="6583202"/>
            <a:ext cx="7665489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Národní zdravotnický informační systém, ISIN – Informační systém infekční nemocí</a:t>
            </a:r>
            <a:endParaRPr kumimoji="0" lang="cs-CZ" sz="11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CE02CAE-4282-4A4F-990C-53954F77CB4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557303" cy="576000"/>
          </a:xfrm>
        </p:spPr>
        <p:txBody>
          <a:bodyPr/>
          <a:lstStyle/>
          <a:p>
            <a:r>
              <a:rPr lang="cs-CZ" dirty="0"/>
              <a:t>Přehled povolání u COVID-19 pozitivních ostatních zdravotnických pracovníků za období 10/2021 – 03/2022</a:t>
            </a:r>
          </a:p>
        </p:txBody>
      </p:sp>
      <p:sp>
        <p:nvSpPr>
          <p:cNvPr id="5" name="Obdélník 4">
            <a:extLst>
              <a:ext uri="{FF2B5EF4-FFF2-40B4-BE49-F238E27FC236}">
                <a16:creationId xmlns:a16="http://schemas.microsoft.com/office/drawing/2014/main" id="{FDB5357A-74B2-4F73-9151-19DFF199B935}"/>
              </a:ext>
            </a:extLst>
          </p:cNvPr>
          <p:cNvSpPr/>
          <p:nvPr/>
        </p:nvSpPr>
        <p:spPr>
          <a:xfrm>
            <a:off x="261654" y="846827"/>
            <a:ext cx="380104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čty známých pracovních pozic</a:t>
            </a:r>
          </a:p>
        </p:txBody>
      </p:sp>
      <p:sp>
        <p:nvSpPr>
          <p:cNvPr id="6" name="TextBox 6">
            <a:extLst>
              <a:ext uri="{FF2B5EF4-FFF2-40B4-BE49-F238E27FC236}">
                <a16:creationId xmlns:a16="http://schemas.microsoft.com/office/drawing/2014/main" id="{CE819702-3927-4B90-94FB-62346EEA34F0}"/>
              </a:ext>
            </a:extLst>
          </p:cNvPr>
          <p:cNvSpPr txBox="1"/>
          <p:nvPr/>
        </p:nvSpPr>
        <p:spPr>
          <a:xfrm>
            <a:off x="9847292" y="6560118"/>
            <a:ext cx="200977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>
              <a:defRPr/>
            </a:pPr>
            <a:r>
              <a:rPr lang="cs-CZ" sz="1200" b="1" dirty="0"/>
              <a:t>Stav k 4. 3. 2022</a:t>
            </a:r>
          </a:p>
        </p:txBody>
      </p:sp>
    </p:spTree>
    <p:extLst>
      <p:ext uri="{BB962C8B-B14F-4D97-AF65-F5344CB8AC3E}">
        <p14:creationId xmlns:p14="http://schemas.microsoft.com/office/powerpoint/2010/main" val="357512663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Graf 17">
            <a:extLst>
              <a:ext uri="{FF2B5EF4-FFF2-40B4-BE49-F238E27FC236}">
                <a16:creationId xmlns:a16="http://schemas.microsoft.com/office/drawing/2014/main" id="{67714BB1-BEFB-4B6A-BA4B-87D00EC0BC8B}"/>
              </a:ext>
            </a:extLst>
          </p:cNvPr>
          <p:cNvGraphicFramePr/>
          <p:nvPr/>
        </p:nvGraphicFramePr>
        <p:xfrm>
          <a:off x="40511" y="729673"/>
          <a:ext cx="11855235" cy="586734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7" name="TextovéPole 6">
            <a:extLst>
              <a:ext uri="{FF2B5EF4-FFF2-40B4-BE49-F238E27FC236}">
                <a16:creationId xmlns:a16="http://schemas.microsoft.com/office/drawing/2014/main" id="{D287B611-02D0-49D2-B339-A7B816C3C828}"/>
              </a:ext>
            </a:extLst>
          </p:cNvPr>
          <p:cNvSpPr txBox="1"/>
          <p:nvPr/>
        </p:nvSpPr>
        <p:spPr>
          <a:xfrm>
            <a:off x="2162175" y="6583202"/>
            <a:ext cx="7665489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Národní zdravotnický informační systém, ISIN – Informační systém infekční nemocí</a:t>
            </a:r>
            <a:endParaRPr kumimoji="0" lang="cs-CZ" sz="11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CE02CAE-4282-4A4F-990C-53954F77CB4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557303" cy="576000"/>
          </a:xfrm>
        </p:spPr>
        <p:txBody>
          <a:bodyPr/>
          <a:lstStyle/>
          <a:p>
            <a:r>
              <a:rPr lang="cs-CZ" dirty="0"/>
              <a:t>Přehled povolání u COVID-19 pozitivních ostatních zdravotnických pracovníků za období 01-03/2022</a:t>
            </a:r>
          </a:p>
        </p:txBody>
      </p:sp>
      <p:sp>
        <p:nvSpPr>
          <p:cNvPr id="5" name="Obdélník 4">
            <a:extLst>
              <a:ext uri="{FF2B5EF4-FFF2-40B4-BE49-F238E27FC236}">
                <a16:creationId xmlns:a16="http://schemas.microsoft.com/office/drawing/2014/main" id="{FDB5357A-74B2-4F73-9151-19DFF199B935}"/>
              </a:ext>
            </a:extLst>
          </p:cNvPr>
          <p:cNvSpPr/>
          <p:nvPr/>
        </p:nvSpPr>
        <p:spPr>
          <a:xfrm>
            <a:off x="261654" y="846827"/>
            <a:ext cx="380104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čty známých pracovních pozic</a:t>
            </a:r>
          </a:p>
        </p:txBody>
      </p:sp>
      <p:sp>
        <p:nvSpPr>
          <p:cNvPr id="6" name="TextBox 6">
            <a:extLst>
              <a:ext uri="{FF2B5EF4-FFF2-40B4-BE49-F238E27FC236}">
                <a16:creationId xmlns:a16="http://schemas.microsoft.com/office/drawing/2014/main" id="{CE819702-3927-4B90-94FB-62346EEA34F0}"/>
              </a:ext>
            </a:extLst>
          </p:cNvPr>
          <p:cNvSpPr txBox="1"/>
          <p:nvPr/>
        </p:nvSpPr>
        <p:spPr>
          <a:xfrm>
            <a:off x="9847292" y="6560118"/>
            <a:ext cx="200977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>
              <a:defRPr/>
            </a:pPr>
            <a:r>
              <a:rPr lang="cs-CZ" sz="1200" b="1" dirty="0"/>
              <a:t>Stav k 4. 3. 2022</a:t>
            </a:r>
          </a:p>
        </p:txBody>
      </p:sp>
    </p:spTree>
    <p:extLst>
      <p:ext uri="{BB962C8B-B14F-4D97-AF65-F5344CB8AC3E}">
        <p14:creationId xmlns:p14="http://schemas.microsoft.com/office/powerpoint/2010/main" val="313027523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7785" y="0"/>
            <a:ext cx="7434501" cy="576000"/>
          </a:xfrm>
        </p:spPr>
        <p:txBody>
          <a:bodyPr/>
          <a:lstStyle/>
          <a:p>
            <a:r>
              <a:rPr lang="cs-CZ" dirty="0"/>
              <a:t>Očkovaní aktivní zdravotničtí pracovníci</a:t>
            </a:r>
          </a:p>
        </p:txBody>
      </p:sp>
      <p:sp>
        <p:nvSpPr>
          <p:cNvPr id="9" name="Obdélník 8">
            <a:extLst>
              <a:ext uri="{FF2B5EF4-FFF2-40B4-BE49-F238E27FC236}">
                <a16:creationId xmlns:a16="http://schemas.microsoft.com/office/drawing/2014/main" id="{B5F8F24A-407C-46C2-BF8F-7094A798CF34}"/>
              </a:ext>
            </a:extLst>
          </p:cNvPr>
          <p:cNvSpPr/>
          <p:nvPr/>
        </p:nvSpPr>
        <p:spPr>
          <a:xfrm>
            <a:off x="331021" y="5689889"/>
            <a:ext cx="11454102" cy="9387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 Zákon č. 96/2004 Sb. o podmínkách získávání a uznávání způsobilosti k výkonu nelékařských zdravotnických povolání a k výkonu činnosti souvisejících s poskytováním zdravotní péče a o změně některých souvisejících zákonů (zákon o nelékařských zdravotnických povoláních); Zákona č. 95/2004 Sb. o podmínkách získávání a uznávání odborné způsobilosti a specializované způsobilosti k výkonu zdravotnického povolání lékaře, zubního lékaře a farmaceuta.</a:t>
            </a:r>
          </a:p>
          <a:p>
            <a:pPr>
              <a:defRPr/>
            </a:pPr>
            <a:r>
              <a:rPr lang="cs-CZ" sz="1100" dirty="0">
                <a:solidFill>
                  <a:srgbClr val="000000"/>
                </a:solidFill>
              </a:rPr>
              <a:t>** Počet zdravotnických pracovníků nahlášených do NZIS (Národní registr zdravotnických pracovníků – NRZP) poskytovateli zdravotních služeb jako aktivní v období od 1.9.2021 do současnosti.</a:t>
            </a:r>
          </a:p>
        </p:txBody>
      </p:sp>
      <p:sp>
        <p:nvSpPr>
          <p:cNvPr id="8" name="TextovéPole 7"/>
          <p:cNvSpPr txBox="1"/>
          <p:nvPr/>
        </p:nvSpPr>
        <p:spPr>
          <a:xfrm>
            <a:off x="309541" y="621246"/>
            <a:ext cx="11561308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400" dirty="0"/>
              <a:t>Počet zdravotnických pracovníků (ZP) dle hlášení povinných subjektů do NRZP** (vzdělávací instituce, poskytovatelé). Celkový počet ZP zahrnuje osoby s odpovídající odbornou způsobilostí pro výkony ZP* a žijící k danému datu. V této analýze jsou zahrnuti ZP, u kterých poskytovatelé zdravotních služeb nahlásili jejich aktivní výkon zaměstnání (v ambulantním sektoru mohou být tyto počty mírně nedohlášené). </a:t>
            </a:r>
          </a:p>
        </p:txBody>
      </p:sp>
      <p:sp>
        <p:nvSpPr>
          <p:cNvPr id="12" name="TextBox 6">
            <a:extLst>
              <a:ext uri="{FF2B5EF4-FFF2-40B4-BE49-F238E27FC236}">
                <a16:creationId xmlns:a16="http://schemas.microsoft.com/office/drawing/2014/main" id="{7A968ED8-B7A5-4B68-AF27-DAE3E4FFEDCD}"/>
              </a:ext>
            </a:extLst>
          </p:cNvPr>
          <p:cNvSpPr txBox="1"/>
          <p:nvPr/>
        </p:nvSpPr>
        <p:spPr>
          <a:xfrm>
            <a:off x="6096000" y="125783"/>
            <a:ext cx="200977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cs-CZ" sz="1600" b="1" dirty="0">
                <a:solidFill>
                  <a:srgbClr val="FFFFFF"/>
                </a:solidFill>
              </a:rPr>
              <a:t>Stav k 4. 3. 2022 </a:t>
            </a:r>
          </a:p>
        </p:txBody>
      </p:sp>
      <p:graphicFrame>
        <p:nvGraphicFramePr>
          <p:cNvPr id="13" name="Tabulka 12">
            <a:extLst>
              <a:ext uri="{FF2B5EF4-FFF2-40B4-BE49-F238E27FC236}">
                <a16:creationId xmlns:a16="http://schemas.microsoft.com/office/drawing/2014/main" id="{9EBA9451-7A3F-4EF9-93DD-7094F620D3D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31306939"/>
              </p:ext>
            </p:extLst>
          </p:nvPr>
        </p:nvGraphicFramePr>
        <p:xfrm>
          <a:off x="356585" y="1390933"/>
          <a:ext cx="11273440" cy="427385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567965">
                  <a:extLst>
                    <a:ext uri="{9D8B030D-6E8A-4147-A177-3AD203B41FA5}">
                      <a16:colId xmlns:a16="http://schemas.microsoft.com/office/drawing/2014/main" val="2651665098"/>
                    </a:ext>
                  </a:extLst>
                </a:gridCol>
                <a:gridCol w="1901825">
                  <a:extLst>
                    <a:ext uri="{9D8B030D-6E8A-4147-A177-3AD203B41FA5}">
                      <a16:colId xmlns:a16="http://schemas.microsoft.com/office/drawing/2014/main" val="3939455336"/>
                    </a:ext>
                  </a:extLst>
                </a:gridCol>
                <a:gridCol w="1901825">
                  <a:extLst>
                    <a:ext uri="{9D8B030D-6E8A-4147-A177-3AD203B41FA5}">
                      <a16:colId xmlns:a16="http://schemas.microsoft.com/office/drawing/2014/main" val="2226907532"/>
                    </a:ext>
                  </a:extLst>
                </a:gridCol>
                <a:gridCol w="1901825">
                  <a:extLst>
                    <a:ext uri="{9D8B030D-6E8A-4147-A177-3AD203B41FA5}">
                      <a16:colId xmlns:a16="http://schemas.microsoft.com/office/drawing/2014/main" val="2183727549"/>
                    </a:ext>
                  </a:extLst>
                </a:gridCol>
              </a:tblGrid>
              <a:tr h="684367">
                <a:tc>
                  <a:txBody>
                    <a:bodyPr/>
                    <a:lstStyle/>
                    <a:p>
                      <a:pPr algn="l" fontAlgn="ctr"/>
                      <a:r>
                        <a:rPr lang="cs-CZ" sz="1600" dirty="0"/>
                        <a:t>Zdravotničtí pracovníci </a:t>
                      </a:r>
                    </a:p>
                    <a:p>
                      <a:pPr algn="l" fontAlgn="ctr"/>
                      <a:r>
                        <a:rPr lang="cs-CZ" sz="1600" dirty="0"/>
                        <a:t>evidovaní v NZIS**</a:t>
                      </a:r>
                      <a:endParaRPr lang="cs-CZ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1" u="none" strike="noStrike" dirty="0">
                          <a:effectLst/>
                        </a:rPr>
                        <a:t>Počet aktivních zdravotnických pracovníků**</a:t>
                      </a:r>
                      <a:endParaRPr lang="cs-CZ" sz="16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u="none" strike="noStrike" dirty="0">
                          <a:effectLst/>
                        </a:rPr>
                        <a:t>Počet očkovaných</a:t>
                      </a:r>
                      <a:endParaRPr lang="cs-CZ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u="none" strike="noStrike" dirty="0">
                          <a:effectLst/>
                        </a:rPr>
                        <a:t>Podíl očkovaných</a:t>
                      </a:r>
                      <a:endParaRPr lang="cs-CZ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extLst>
                  <a:ext uri="{0D108BD9-81ED-4DB2-BD59-A6C34878D82A}">
                    <a16:rowId xmlns:a16="http://schemas.microsoft.com/office/drawing/2014/main" val="3304470326"/>
                  </a:ext>
                </a:extLst>
              </a:tr>
              <a:tr h="49736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armaceuti</a:t>
                      </a:r>
                    </a:p>
                    <a:p>
                      <a:pPr algn="l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farmaceut, § 19 Farmaceutický asistent)</a:t>
                      </a:r>
                      <a:endParaRPr lang="cs-CZ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 28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 40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9,9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885223301"/>
                  </a:ext>
                </a:extLst>
              </a:tr>
              <a:tr h="49736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§ 36 Ošetřovatel</a:t>
                      </a:r>
                    </a:p>
                  </a:txBody>
                  <a:tcPr marL="36000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68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57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0,5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51230907"/>
                  </a:ext>
                </a:extLst>
              </a:tr>
              <a:tr h="49736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§ 42 Sanitář</a:t>
                      </a:r>
                    </a:p>
                  </a:txBody>
                  <a:tcPr marL="36000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 85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 28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2,3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212447989"/>
                  </a:ext>
                </a:extLst>
              </a:tr>
              <a:tr h="49736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§ 18 Zdravotnický záchranář</a:t>
                      </a:r>
                    </a:p>
                  </a:txBody>
                  <a:tcPr marL="36000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54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95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7,0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683551337"/>
                  </a:ext>
                </a:extLst>
              </a:tr>
              <a:tr h="49736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§ 24 Fyzioterapeut</a:t>
                      </a:r>
                    </a:p>
                  </a:txBody>
                  <a:tcPr marL="36000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29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11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6,5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917754198"/>
                  </a:ext>
                </a:extLst>
              </a:tr>
              <a:tr h="52218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aboratorní pracovníci</a:t>
                      </a:r>
                    </a:p>
                    <a:p>
                      <a:pPr algn="l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§ 8 Radiologický asistent, § 9 Zdravotní laborant, § 26 Odborný pracovník v laboratorních metodách a v přípravě léčivých přípravků, § 30 Laboratorní asistent, § 41 Autoptický laborant)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 69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 13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2,6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430714590"/>
                  </a:ext>
                </a:extLst>
              </a:tr>
              <a:tr h="49736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statní NLZP</a:t>
                      </a:r>
                    </a:p>
                  </a:txBody>
                  <a:tcPr marL="36000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 21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 29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1,5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018325100"/>
                  </a:ext>
                </a:extLst>
              </a:tr>
            </a:tbl>
          </a:graphicData>
        </a:graphic>
      </p:graphicFrame>
      <p:sp>
        <p:nvSpPr>
          <p:cNvPr id="11" name="Obdélník 10">
            <a:extLst>
              <a:ext uri="{FF2B5EF4-FFF2-40B4-BE49-F238E27FC236}">
                <a16:creationId xmlns:a16="http://schemas.microsoft.com/office/drawing/2014/main" id="{6BEBD7D0-42BD-498C-808F-66E0FCBEB10D}"/>
              </a:ext>
            </a:extLst>
          </p:cNvPr>
          <p:cNvSpPr/>
          <p:nvPr/>
        </p:nvSpPr>
        <p:spPr>
          <a:xfrm>
            <a:off x="1733551" y="6575571"/>
            <a:ext cx="8280399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Národní zdravotnický informační sytém (NZIS), ÚZIS ČR; Informační systém infekční nemoci (ISIN) </a:t>
            </a:r>
          </a:p>
        </p:txBody>
      </p:sp>
    </p:spTree>
    <p:extLst>
      <p:ext uri="{BB962C8B-B14F-4D97-AF65-F5344CB8AC3E}">
        <p14:creationId xmlns:p14="http://schemas.microsoft.com/office/powerpoint/2010/main" val="2435837818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abulka 4">
            <a:extLst>
              <a:ext uri="{FF2B5EF4-FFF2-40B4-BE49-F238E27FC236}">
                <a16:creationId xmlns:a16="http://schemas.microsoft.com/office/drawing/2014/main" id="{ABEA05EB-6626-4B0A-A47D-F85F5E222E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9128281"/>
              </p:ext>
            </p:extLst>
          </p:nvPr>
        </p:nvGraphicFramePr>
        <p:xfrm>
          <a:off x="1943097" y="1600988"/>
          <a:ext cx="9946013" cy="4555965"/>
        </p:xfrm>
        <a:graphic>
          <a:graphicData uri="http://schemas.openxmlformats.org/drawingml/2006/table">
            <a:tbl>
              <a:tblPr/>
              <a:tblGrid>
                <a:gridCol w="1420859">
                  <a:extLst>
                    <a:ext uri="{9D8B030D-6E8A-4147-A177-3AD203B41FA5}">
                      <a16:colId xmlns:a16="http://schemas.microsoft.com/office/drawing/2014/main" val="493149274"/>
                    </a:ext>
                  </a:extLst>
                </a:gridCol>
                <a:gridCol w="1420859">
                  <a:extLst>
                    <a:ext uri="{9D8B030D-6E8A-4147-A177-3AD203B41FA5}">
                      <a16:colId xmlns:a16="http://schemas.microsoft.com/office/drawing/2014/main" val="4131648148"/>
                    </a:ext>
                  </a:extLst>
                </a:gridCol>
                <a:gridCol w="1420859">
                  <a:extLst>
                    <a:ext uri="{9D8B030D-6E8A-4147-A177-3AD203B41FA5}">
                      <a16:colId xmlns:a16="http://schemas.microsoft.com/office/drawing/2014/main" val="2027815069"/>
                    </a:ext>
                  </a:extLst>
                </a:gridCol>
                <a:gridCol w="1420859">
                  <a:extLst>
                    <a:ext uri="{9D8B030D-6E8A-4147-A177-3AD203B41FA5}">
                      <a16:colId xmlns:a16="http://schemas.microsoft.com/office/drawing/2014/main" val="2218049642"/>
                    </a:ext>
                  </a:extLst>
                </a:gridCol>
                <a:gridCol w="1420859">
                  <a:extLst>
                    <a:ext uri="{9D8B030D-6E8A-4147-A177-3AD203B41FA5}">
                      <a16:colId xmlns:a16="http://schemas.microsoft.com/office/drawing/2014/main" val="3337561739"/>
                    </a:ext>
                  </a:extLst>
                </a:gridCol>
                <a:gridCol w="1420859">
                  <a:extLst>
                    <a:ext uri="{9D8B030D-6E8A-4147-A177-3AD203B41FA5}">
                      <a16:colId xmlns:a16="http://schemas.microsoft.com/office/drawing/2014/main" val="1893041603"/>
                    </a:ext>
                  </a:extLst>
                </a:gridCol>
                <a:gridCol w="1420859">
                  <a:extLst>
                    <a:ext uri="{9D8B030D-6E8A-4147-A177-3AD203B41FA5}">
                      <a16:colId xmlns:a16="http://schemas.microsoft.com/office/drawing/2014/main" val="4237499476"/>
                    </a:ext>
                  </a:extLst>
                </a:gridCol>
              </a:tblGrid>
              <a:tr h="303731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EB8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B8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47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B8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FE28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DD88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0D58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85089722"/>
                  </a:ext>
                </a:extLst>
              </a:tr>
              <a:tr h="303731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78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6E48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AE18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86C97E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1DE8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CD88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81C77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2545095"/>
                  </a:ext>
                </a:extLst>
              </a:tr>
              <a:tr h="303731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9D78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17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E8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7CD7E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B8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B8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CD38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54891504"/>
                  </a:ext>
                </a:extLst>
              </a:tr>
              <a:tr h="303731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ED88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B8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E08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3D17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2E38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DD88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0D58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02742211"/>
                  </a:ext>
                </a:extLst>
              </a:tr>
              <a:tr h="303731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6DB8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F7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97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9E58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078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EA8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1DA8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08858830"/>
                  </a:ext>
                </a:extLst>
              </a:tr>
              <a:tr h="303731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A8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8E58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2D58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68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CE18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CE1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2738782"/>
                  </a:ext>
                </a:extLst>
              </a:tr>
              <a:tr h="303731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4E88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C7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48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AD38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706C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E48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ED48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71860566"/>
                  </a:ext>
                </a:extLst>
              </a:tr>
              <a:tr h="303731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8E08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47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77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ACE7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97A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BE1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7861342"/>
                  </a:ext>
                </a:extLst>
              </a:tr>
              <a:tr h="303731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2D58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D75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AD78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08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8B7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F75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7E98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94144942"/>
                  </a:ext>
                </a:extLst>
              </a:tr>
              <a:tr h="303731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82C77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8D78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0E28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2E38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18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97A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FD48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54680185"/>
                  </a:ext>
                </a:extLst>
              </a:tr>
              <a:tr h="303731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A576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C27C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07E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57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98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D8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2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41496216"/>
                  </a:ext>
                </a:extLst>
              </a:tr>
              <a:tr h="303731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DE68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77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806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E7E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8E7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A376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A27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65945894"/>
                  </a:ext>
                </a:extLst>
              </a:tr>
              <a:tr h="303731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E08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27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E75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A075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AB77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57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857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53976067"/>
                  </a:ext>
                </a:extLst>
              </a:tr>
              <a:tr h="303731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7E48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57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B7A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EE28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C6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37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78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31629824"/>
                  </a:ext>
                </a:extLst>
              </a:tr>
              <a:tr h="303731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EB8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C07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47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AE18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A7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D8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9E58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63056884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2538" y="0"/>
            <a:ext cx="8037065" cy="576000"/>
          </a:xfrm>
        </p:spPr>
        <p:txBody>
          <a:bodyPr/>
          <a:lstStyle/>
          <a:p>
            <a:r>
              <a:rPr lang="cs-CZ" dirty="0"/>
              <a:t>Očkovaní NLZP v nemocnicích akutní lůžkové péče a ZZS</a:t>
            </a:r>
          </a:p>
        </p:txBody>
      </p:sp>
      <p:sp>
        <p:nvSpPr>
          <p:cNvPr id="13" name="Obdélník 12">
            <a:extLst>
              <a:ext uri="{FF2B5EF4-FFF2-40B4-BE49-F238E27FC236}">
                <a16:creationId xmlns:a16="http://schemas.microsoft.com/office/drawing/2014/main" id="{A045BA81-95DE-42BA-99D6-CBB4DCCC5501}"/>
              </a:ext>
            </a:extLst>
          </p:cNvPr>
          <p:cNvSpPr/>
          <p:nvPr/>
        </p:nvSpPr>
        <p:spPr>
          <a:xfrm>
            <a:off x="172060" y="6401765"/>
            <a:ext cx="11753240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cs-CZ" sz="1100" dirty="0"/>
              <a:t>Do analýzy jsou zahrnuti pouze zdravotničtí pracovníci nahlášení poskytovateli zdravotnických služeb jako aktuálně zaměstnaní.</a:t>
            </a:r>
          </a:p>
          <a:p>
            <a:pPr algn="ctr"/>
            <a:r>
              <a:rPr lang="cs-CZ" sz="1100" dirty="0"/>
              <a:t>Zdroj: Národní registr zdravotnických pracovníků (NRZP), ÚZIS ČR; Informační systém infekční nemoci (ISIN) </a:t>
            </a:r>
          </a:p>
        </p:txBody>
      </p:sp>
      <p:sp>
        <p:nvSpPr>
          <p:cNvPr id="20" name="TextBox 6">
            <a:extLst>
              <a:ext uri="{FF2B5EF4-FFF2-40B4-BE49-F238E27FC236}">
                <a16:creationId xmlns:a16="http://schemas.microsoft.com/office/drawing/2014/main" id="{0D1107EB-D187-4678-AF28-2A18CAE50957}"/>
              </a:ext>
            </a:extLst>
          </p:cNvPr>
          <p:cNvSpPr txBox="1"/>
          <p:nvPr/>
        </p:nvSpPr>
        <p:spPr>
          <a:xfrm>
            <a:off x="297312" y="614100"/>
            <a:ext cx="19696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cs-CZ" sz="1400" b="1" dirty="0"/>
              <a:t>Stav k 4. 3. 2022 </a:t>
            </a:r>
          </a:p>
        </p:txBody>
      </p:sp>
      <p:graphicFrame>
        <p:nvGraphicFramePr>
          <p:cNvPr id="4" name="Tabulka 3">
            <a:extLst>
              <a:ext uri="{FF2B5EF4-FFF2-40B4-BE49-F238E27FC236}">
                <a16:creationId xmlns:a16="http://schemas.microsoft.com/office/drawing/2014/main" id="{002BA253-3FCF-4619-85EA-CE8807BFEB8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47641712"/>
              </p:ext>
            </p:extLst>
          </p:nvPr>
        </p:nvGraphicFramePr>
        <p:xfrm>
          <a:off x="302889" y="921878"/>
          <a:ext cx="11586222" cy="5235072"/>
        </p:xfrm>
        <a:graphic>
          <a:graphicData uri="http://schemas.openxmlformats.org/drawingml/2006/table">
            <a:tbl>
              <a:tblPr/>
              <a:tblGrid>
                <a:gridCol w="1640944">
                  <a:extLst>
                    <a:ext uri="{9D8B030D-6E8A-4147-A177-3AD203B41FA5}">
                      <a16:colId xmlns:a16="http://schemas.microsoft.com/office/drawing/2014/main" val="974880782"/>
                    </a:ext>
                  </a:extLst>
                </a:gridCol>
                <a:gridCol w="1420754">
                  <a:extLst>
                    <a:ext uri="{9D8B030D-6E8A-4147-A177-3AD203B41FA5}">
                      <a16:colId xmlns:a16="http://schemas.microsoft.com/office/drawing/2014/main" val="2441195149"/>
                    </a:ext>
                  </a:extLst>
                </a:gridCol>
                <a:gridCol w="1420754">
                  <a:extLst>
                    <a:ext uri="{9D8B030D-6E8A-4147-A177-3AD203B41FA5}">
                      <a16:colId xmlns:a16="http://schemas.microsoft.com/office/drawing/2014/main" val="2349922488"/>
                    </a:ext>
                  </a:extLst>
                </a:gridCol>
                <a:gridCol w="1420754">
                  <a:extLst>
                    <a:ext uri="{9D8B030D-6E8A-4147-A177-3AD203B41FA5}">
                      <a16:colId xmlns:a16="http://schemas.microsoft.com/office/drawing/2014/main" val="1048032588"/>
                    </a:ext>
                  </a:extLst>
                </a:gridCol>
                <a:gridCol w="1420754">
                  <a:extLst>
                    <a:ext uri="{9D8B030D-6E8A-4147-A177-3AD203B41FA5}">
                      <a16:colId xmlns:a16="http://schemas.microsoft.com/office/drawing/2014/main" val="2857566558"/>
                    </a:ext>
                  </a:extLst>
                </a:gridCol>
                <a:gridCol w="1420754">
                  <a:extLst>
                    <a:ext uri="{9D8B030D-6E8A-4147-A177-3AD203B41FA5}">
                      <a16:colId xmlns:a16="http://schemas.microsoft.com/office/drawing/2014/main" val="2038756237"/>
                    </a:ext>
                  </a:extLst>
                </a:gridCol>
                <a:gridCol w="1420754">
                  <a:extLst>
                    <a:ext uri="{9D8B030D-6E8A-4147-A177-3AD203B41FA5}">
                      <a16:colId xmlns:a16="http://schemas.microsoft.com/office/drawing/2014/main" val="134387120"/>
                    </a:ext>
                  </a:extLst>
                </a:gridCol>
                <a:gridCol w="1420754">
                  <a:extLst>
                    <a:ext uri="{9D8B030D-6E8A-4147-A177-3AD203B41FA5}">
                      <a16:colId xmlns:a16="http://schemas.microsoft.com/office/drawing/2014/main" val="3794948740"/>
                    </a:ext>
                  </a:extLst>
                </a:gridCol>
              </a:tblGrid>
              <a:tr h="657859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Počet očkovaných alespoň jednou dávkou (podíl ze všech pracovníků daného povolání)</a:t>
                      </a:r>
                    </a:p>
                  </a:txBody>
                  <a:tcPr marL="36000" marR="6522" marT="6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armaceuti</a:t>
                      </a:r>
                    </a:p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farmaceut, § 19 Farmaceutický asistent)</a:t>
                      </a:r>
                    </a:p>
                  </a:txBody>
                  <a:tcPr marL="6522" marR="6522" marT="6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§ 36 Ošetřovatel</a:t>
                      </a:r>
                    </a:p>
                  </a:txBody>
                  <a:tcPr marL="6522" marR="6522" marT="6522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§ 42 Sanitář</a:t>
                      </a:r>
                    </a:p>
                  </a:txBody>
                  <a:tcPr marL="6522" marR="6522" marT="6522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§ 18 Zdravotnický záchranář</a:t>
                      </a:r>
                    </a:p>
                  </a:txBody>
                  <a:tcPr marL="6522" marR="6522" marT="6522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§ 24 Fyzioterapeut</a:t>
                      </a:r>
                    </a:p>
                  </a:txBody>
                  <a:tcPr marL="6522" marR="6522" marT="6522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aboratorní pracovníci *</a:t>
                      </a:r>
                    </a:p>
                  </a:txBody>
                  <a:tcPr marL="6522" marR="6522" marT="6522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statní NLZP</a:t>
                      </a:r>
                    </a:p>
                  </a:txBody>
                  <a:tcPr marL="6522" marR="6522" marT="6522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48253265"/>
                  </a:ext>
                </a:extLst>
              </a:tr>
              <a:tr h="30386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lavní město Praha</a:t>
                      </a:r>
                    </a:p>
                  </a:txBody>
                  <a:tcPr marL="36000" marR="6522" marT="6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1 (85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9 (85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486 (82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1 (85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3 (86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691 (88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17 (89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79527979"/>
                  </a:ext>
                </a:extLst>
              </a:tr>
              <a:tr h="30386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36000" marR="6522" marT="6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9 (83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3 (86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770 (87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6 (91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8 (87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8 (88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1 (91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3261609"/>
                  </a:ext>
                </a:extLst>
              </a:tr>
              <a:tr h="30386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36000" marR="6522" marT="6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3 (88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3 (82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22 (83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6 (90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1 (85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8 (83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6 (89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89404468"/>
                  </a:ext>
                </a:extLst>
              </a:tr>
              <a:tr h="30386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36000" marR="6522" marT="6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7 (88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6 (85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023 (87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3 (89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3 (86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2 (88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7 (89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65881402"/>
                  </a:ext>
                </a:extLst>
              </a:tr>
              <a:tr h="30386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36000" marR="6522" marT="6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 (88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2 (80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6 (81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 (86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 (79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4 (85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5 (88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10782105"/>
                  </a:ext>
                </a:extLst>
              </a:tr>
              <a:tr h="30386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36000" marR="6522" marT="6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8 (92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4 (85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367 (86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9 (89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8 (83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8 (86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8 (86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62802116"/>
                  </a:ext>
                </a:extLst>
              </a:tr>
              <a:tr h="30386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36000" marR="6522" marT="6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8 (85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9 (80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64 (84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4 (89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6 (73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9 (86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2 (89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77428449"/>
                  </a:ext>
                </a:extLst>
              </a:tr>
              <a:tr h="30386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36000" marR="6522" marT="6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8 (87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2 (83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0 (81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8 (90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8 (72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1 (80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3 (86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20309455"/>
                  </a:ext>
                </a:extLst>
              </a:tr>
              <a:tr h="30386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36000" marR="6522" marT="6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3 (89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4 (78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5 (79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3 (84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8 (75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6 (77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6 (85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11198027"/>
                  </a:ext>
                </a:extLst>
              </a:tr>
              <a:tr h="30386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36000" marR="6522" marT="6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4 (90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 (88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83 (86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4 (86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1 (84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8 (80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9 (89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83674140"/>
                  </a:ext>
                </a:extLst>
              </a:tr>
              <a:tr h="30386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36000" marR="6522" marT="6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1 (78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6 (81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502 (82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2 (82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7 (85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194 (83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2 (84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43397029"/>
                  </a:ext>
                </a:extLst>
              </a:tr>
              <a:tr h="30386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36000" marR="6522" marT="6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5 (86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4 (77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93 (74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8 (82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7 (76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6 (78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2 (78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37693671"/>
                  </a:ext>
                </a:extLst>
              </a:tr>
              <a:tr h="30386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36000" marR="6522" marT="6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 (87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4 (79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8 (77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4 (77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1 (78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0 (76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0 (74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907469"/>
                  </a:ext>
                </a:extLst>
              </a:tr>
              <a:tr h="30386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36000" marR="6522" marT="6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5 (86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020 (76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458 (80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4 (87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7 (72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29 (79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72 (83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710140"/>
                  </a:ext>
                </a:extLst>
              </a:tr>
              <a:tr h="30386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R</a:t>
                      </a:r>
                    </a:p>
                  </a:txBody>
                  <a:tcPr marL="36000" marR="6522" marT="6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153 (85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391 (81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357 (83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971 (87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728 (82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214 (83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730 (86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64919212"/>
                  </a:ext>
                </a:extLst>
              </a:tr>
            </a:tbl>
          </a:graphicData>
        </a:graphic>
      </p:graphicFrame>
      <p:sp>
        <p:nvSpPr>
          <p:cNvPr id="7" name="Obdélník 6">
            <a:extLst>
              <a:ext uri="{FF2B5EF4-FFF2-40B4-BE49-F238E27FC236}">
                <a16:creationId xmlns:a16="http://schemas.microsoft.com/office/drawing/2014/main" id="{EE8DF9DD-84CF-4A37-A410-0264FC601949}"/>
              </a:ext>
            </a:extLst>
          </p:cNvPr>
          <p:cNvSpPr/>
          <p:nvPr/>
        </p:nvSpPr>
        <p:spPr>
          <a:xfrm>
            <a:off x="1476376" y="6151138"/>
            <a:ext cx="10544480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cs-CZ" sz="10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* § 8 Radiologický asistent, § 9 Zdravotní laborant, § 26 Odborný pracovník v laboratorních metodách a v přípravě léčivých přípravků, § 30 Laboratorní asistent, § 41 Autoptický laborant</a:t>
            </a:r>
            <a:endParaRPr lang="cs-CZ" sz="1000" dirty="0"/>
          </a:p>
        </p:txBody>
      </p:sp>
    </p:spTree>
    <p:extLst>
      <p:ext uri="{BB962C8B-B14F-4D97-AF65-F5344CB8AC3E}">
        <p14:creationId xmlns:p14="http://schemas.microsoft.com/office/powerpoint/2010/main" val="3414853565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abulka 5">
            <a:extLst>
              <a:ext uri="{FF2B5EF4-FFF2-40B4-BE49-F238E27FC236}">
                <a16:creationId xmlns:a16="http://schemas.microsoft.com/office/drawing/2014/main" id="{24A2C78B-7E52-4AA6-B37A-62B6C2E5EC9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29139587"/>
              </p:ext>
            </p:extLst>
          </p:nvPr>
        </p:nvGraphicFramePr>
        <p:xfrm>
          <a:off x="2419349" y="1343818"/>
          <a:ext cx="9600585" cy="4485715"/>
        </p:xfrm>
        <a:graphic>
          <a:graphicData uri="http://schemas.openxmlformats.org/drawingml/2006/table">
            <a:tbl>
              <a:tblPr/>
              <a:tblGrid>
                <a:gridCol w="640039">
                  <a:extLst>
                    <a:ext uri="{9D8B030D-6E8A-4147-A177-3AD203B41FA5}">
                      <a16:colId xmlns:a16="http://schemas.microsoft.com/office/drawing/2014/main" val="1006182392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2245050767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1326599832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516417688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371182983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2221298024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4098435062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3817486072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3201994942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920802059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933002671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492075879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2963179661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1852902227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1901701498"/>
                    </a:ext>
                  </a:extLst>
                </a:gridCol>
              </a:tblGrid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1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6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3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CDD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C37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2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9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7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2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8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C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8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E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8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C8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44246192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2E3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EDD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F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4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D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0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5DF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8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7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9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D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B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AB7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2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1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80975537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4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A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A77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5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0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A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E7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A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A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FE7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57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21083771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67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7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9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47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9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0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8F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826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C47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C57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3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C7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75422067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6D6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2D5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ED9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8CE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7D2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BDC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9D3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ED0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8DCA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8D2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FD9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EDD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5D1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9DC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5D68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53310214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ACE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3D1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6D2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4D6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E9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6D6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FD9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2DA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DE1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A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7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1E7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7C4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1E3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DDD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07290940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B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1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E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E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8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5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D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0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5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B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7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A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67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B7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13296272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5E9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DDD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DDD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6D6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0D9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7E0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8FCB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AD8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FE2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BCF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F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2DE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ACE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3D5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2DE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34380385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7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CE1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FDE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7D7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EE2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E0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DDD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CE6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6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FDE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3E8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9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DDD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3E8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EE68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25834204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8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1DE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B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4E8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3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A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9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1E3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7E0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B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9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6E4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4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0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A8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33146166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2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5CD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AE5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EB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FC7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7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0DE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ECF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7E9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0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1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EA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6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E9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DE68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14766590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87488519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4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FE7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EA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C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9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4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A27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0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1CC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EB8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21801169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2538" y="0"/>
            <a:ext cx="8284712" cy="576000"/>
          </a:xfrm>
        </p:spPr>
        <p:txBody>
          <a:bodyPr/>
          <a:lstStyle/>
          <a:p>
            <a:r>
              <a:rPr lang="cs-CZ" dirty="0"/>
              <a:t>Očkovaní lékaři* podle typu zdravotnického zařízení</a:t>
            </a:r>
          </a:p>
        </p:txBody>
      </p:sp>
      <p:sp>
        <p:nvSpPr>
          <p:cNvPr id="20" name="TextBox 6">
            <a:extLst>
              <a:ext uri="{FF2B5EF4-FFF2-40B4-BE49-F238E27FC236}">
                <a16:creationId xmlns:a16="http://schemas.microsoft.com/office/drawing/2014/main" id="{0D1107EB-D187-4678-AF28-2A18CAE50957}"/>
              </a:ext>
            </a:extLst>
          </p:cNvPr>
          <p:cNvSpPr txBox="1"/>
          <p:nvPr/>
        </p:nvSpPr>
        <p:spPr>
          <a:xfrm>
            <a:off x="10001250" y="6540606"/>
            <a:ext cx="201869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cs-CZ" sz="1400" b="1" dirty="0"/>
              <a:t>Stav k 4. 3. 2022 </a:t>
            </a:r>
          </a:p>
        </p:txBody>
      </p:sp>
      <p:graphicFrame>
        <p:nvGraphicFramePr>
          <p:cNvPr id="5" name="Tabulka 4">
            <a:extLst>
              <a:ext uri="{FF2B5EF4-FFF2-40B4-BE49-F238E27FC236}">
                <a16:creationId xmlns:a16="http://schemas.microsoft.com/office/drawing/2014/main" id="{CD48C377-98E3-4540-BFE1-BA921AC0BAE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03850402"/>
              </p:ext>
            </p:extLst>
          </p:nvPr>
        </p:nvGraphicFramePr>
        <p:xfrm>
          <a:off x="172060" y="835886"/>
          <a:ext cx="11847876" cy="4993645"/>
        </p:xfrm>
        <a:graphic>
          <a:graphicData uri="http://schemas.openxmlformats.org/drawingml/2006/table">
            <a:tbl>
              <a:tblPr/>
              <a:tblGrid>
                <a:gridCol w="2249451">
                  <a:extLst>
                    <a:ext uri="{9D8B030D-6E8A-4147-A177-3AD203B41FA5}">
                      <a16:colId xmlns:a16="http://schemas.microsoft.com/office/drawing/2014/main" val="652507569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3477482594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2314989255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1133656534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3707313385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2614584230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3645035601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588882927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2171033188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3922541207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416196272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1768927368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3636322451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3251406687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3054528204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575082524"/>
                    </a:ext>
                  </a:extLst>
                </a:gridCol>
              </a:tblGrid>
              <a:tr h="43493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čkovaných alespoň jednou dávkou (podíl ze všech pracovníků daného povolání)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HA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C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HC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V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L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B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K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YS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HM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S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*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48974545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mocnice akutní péče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17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9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96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9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73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9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69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3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81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9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12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74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15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9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16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70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87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26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24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 660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03397526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mocnice následné peče a jiná lůžková zařízení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2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3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9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3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8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9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319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67148793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sychiatrické léčebny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8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6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6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1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74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45978599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ázeňské léčebny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5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0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3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1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8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90681261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mostatná ordinace praktického lékaře pro dospělé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5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5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4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6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5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3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5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6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7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5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4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3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6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4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756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5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99956148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mostatná ordinace praktického lékaře pro děti a dorost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6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6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6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5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5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4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4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2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8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2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572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3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48753742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mostatná ordinace zubního lékaře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05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061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91169380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mostatná ordinace gynekologa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3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3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5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4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3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7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4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2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6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3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6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5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282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3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63463250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mostatná ordinace lékaře specialisty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02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2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3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5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2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3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3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9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3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02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3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3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121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94938465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pt-BR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statní ambulantní zařízení a laboratoře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22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3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2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3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2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9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107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82312617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dravotnická záchranná služba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9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7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2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8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3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6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449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13997440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ékárny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24247117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statní zdravotnická zařízení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9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9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7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7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4</a:t>
                      </a:r>
                      <a:b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05943844"/>
                  </a:ext>
                </a:extLst>
              </a:tr>
            </a:tbl>
          </a:graphicData>
        </a:graphic>
      </p:graphicFrame>
      <p:sp>
        <p:nvSpPr>
          <p:cNvPr id="18" name="Obdélník 17">
            <a:extLst>
              <a:ext uri="{FF2B5EF4-FFF2-40B4-BE49-F238E27FC236}">
                <a16:creationId xmlns:a16="http://schemas.microsoft.com/office/drawing/2014/main" id="{807777C6-243E-41FA-BD00-EE19544600CE}"/>
              </a:ext>
            </a:extLst>
          </p:cNvPr>
          <p:cNvSpPr/>
          <p:nvPr/>
        </p:nvSpPr>
        <p:spPr>
          <a:xfrm>
            <a:off x="119367" y="6013803"/>
            <a:ext cx="11953265" cy="6001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 Lékaři včetně zubních lékařů; jedna osoba může pracovat ve více krajích </a:t>
            </a:r>
            <a:r>
              <a:rPr lang="cs-CZ" sz="1100" dirty="0">
                <a:solidFill>
                  <a:srgbClr val="000000"/>
                </a:solidFill>
              </a:rPr>
              <a:t>a ve více typech zdravotnických zařízení. </a:t>
            </a:r>
            <a:endParaRPr kumimoji="0" lang="cs-CZ" sz="1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o analýzy jsou zahrnuti pouze zdravotničtí pracovníci nahlášení poskytovateli zdravotnických služeb jako aktuálně zaměstnaní. Výsledky mohou být ovlivněny úplností hlášení poskytovatelů zdravotních služeb do NRZP.</a:t>
            </a:r>
          </a:p>
        </p:txBody>
      </p:sp>
      <p:sp>
        <p:nvSpPr>
          <p:cNvPr id="21" name="Obdélník 20">
            <a:extLst>
              <a:ext uri="{FF2B5EF4-FFF2-40B4-BE49-F238E27FC236}">
                <a16:creationId xmlns:a16="http://schemas.microsoft.com/office/drawing/2014/main" id="{74028100-6752-4BD6-8757-694F3E498E25}"/>
              </a:ext>
            </a:extLst>
          </p:cNvPr>
          <p:cNvSpPr/>
          <p:nvPr/>
        </p:nvSpPr>
        <p:spPr>
          <a:xfrm>
            <a:off x="172060" y="6573215"/>
            <a:ext cx="10191140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Národní registr zdravotnických pracovníků (NRZP), ÚZIS ČR; Informační systém infekční nemoci (ISIN) </a:t>
            </a:r>
          </a:p>
        </p:txBody>
      </p:sp>
    </p:spTree>
    <p:extLst>
      <p:ext uri="{BB962C8B-B14F-4D97-AF65-F5344CB8AC3E}">
        <p14:creationId xmlns:p14="http://schemas.microsoft.com/office/powerpoint/2010/main" val="2214849293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abulka 4">
            <a:extLst>
              <a:ext uri="{FF2B5EF4-FFF2-40B4-BE49-F238E27FC236}">
                <a16:creationId xmlns:a16="http://schemas.microsoft.com/office/drawing/2014/main" id="{CD4A0E17-AC87-4A06-8BFF-D4626ED2DB0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23208206"/>
              </p:ext>
            </p:extLst>
          </p:nvPr>
        </p:nvGraphicFramePr>
        <p:xfrm>
          <a:off x="2419349" y="1343819"/>
          <a:ext cx="9600585" cy="4485715"/>
        </p:xfrm>
        <a:graphic>
          <a:graphicData uri="http://schemas.openxmlformats.org/drawingml/2006/table">
            <a:tbl>
              <a:tblPr/>
              <a:tblGrid>
                <a:gridCol w="640039">
                  <a:extLst>
                    <a:ext uri="{9D8B030D-6E8A-4147-A177-3AD203B41FA5}">
                      <a16:colId xmlns:a16="http://schemas.microsoft.com/office/drawing/2014/main" val="697788463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1999859320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2617658052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1624781452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3967275787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2728636955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3654947881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1449907385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1980179312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511203073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548975333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829589701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851796555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856873716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3056620989"/>
                    </a:ext>
                  </a:extLst>
                </a:gridCol>
              </a:tblGrid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E9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7E4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8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E4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9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FE2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7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6E9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D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9E5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4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2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7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6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68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24635638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3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2E8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3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F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E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A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EA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0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B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0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9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F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F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C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88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08646001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4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6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D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B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4E8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3D1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8E5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8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7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B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9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F8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77035668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B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CD3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9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F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CDD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1D5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A87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8CE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C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E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9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E7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83801367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2DA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BD3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9DC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9D7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1CC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6DB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BDC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CD4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2DA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4D6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9D2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ED9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3DA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2E3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FD98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42314783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0D9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3DA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8DB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1D0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2CC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ACE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4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0D0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7D7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CD8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8E5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5E8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8DC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6E9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BDC8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97093762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9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B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4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6E9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2E8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AE5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9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1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8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5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B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3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1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C57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E8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03430825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2E3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0D9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2DA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8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ECF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0D9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7E9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9CE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3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8D7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0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DE2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0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E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AE58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22189592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BE6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E4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EA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2DE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9DC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3E3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B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6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B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CE6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1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1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5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5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B8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6700895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4E8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A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F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2E8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BE6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3E3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6E9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5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D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0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D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A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4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4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4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66359944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6DB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2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DCF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E9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5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C0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1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4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2D5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DE68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20061544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7D7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7B6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ED98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61959751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9E5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8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C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EA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8CCA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ED4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AB7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C0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A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8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4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7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7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7E9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78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42473522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2538" y="0"/>
            <a:ext cx="8284712" cy="576000"/>
          </a:xfrm>
        </p:spPr>
        <p:txBody>
          <a:bodyPr/>
          <a:lstStyle/>
          <a:p>
            <a:r>
              <a:rPr lang="cs-CZ" dirty="0"/>
              <a:t>Očkované sestry* podle typu zdravotnického zařízení</a:t>
            </a:r>
          </a:p>
        </p:txBody>
      </p:sp>
      <p:sp>
        <p:nvSpPr>
          <p:cNvPr id="18" name="Obdélník 17">
            <a:extLst>
              <a:ext uri="{FF2B5EF4-FFF2-40B4-BE49-F238E27FC236}">
                <a16:creationId xmlns:a16="http://schemas.microsoft.com/office/drawing/2014/main" id="{807777C6-243E-41FA-BD00-EE19544600CE}"/>
              </a:ext>
            </a:extLst>
          </p:cNvPr>
          <p:cNvSpPr/>
          <p:nvPr/>
        </p:nvSpPr>
        <p:spPr>
          <a:xfrm>
            <a:off x="119367" y="6013803"/>
            <a:ext cx="11953265" cy="6001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§ 5 Všeobecná sestra, § 5a Dětská sestra, § 6 Porodní asistentka, § 21b Praktická sestra; jedna osoba může pracovat ve více krajích </a:t>
            </a:r>
            <a:r>
              <a:rPr lang="cs-CZ" sz="1100" dirty="0">
                <a:solidFill>
                  <a:srgbClr val="000000"/>
                </a:solidFill>
              </a:rPr>
              <a:t>a ve více typech zdravotnických zařízení.</a:t>
            </a:r>
            <a:endParaRPr kumimoji="0" lang="cs-CZ" sz="1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o analýzy jsou zahrnuti pouze zdravotničtí pracovníci nahlášení poskytovateli zdravotnických služeb jako aktuálně zaměstnaní. Výsledky mohou být ovlivněny úplností hlášení poskytovatelů zdravotních služeb do NRZP.</a:t>
            </a:r>
          </a:p>
        </p:txBody>
      </p:sp>
      <p:sp>
        <p:nvSpPr>
          <p:cNvPr id="21" name="Obdélník 20">
            <a:extLst>
              <a:ext uri="{FF2B5EF4-FFF2-40B4-BE49-F238E27FC236}">
                <a16:creationId xmlns:a16="http://schemas.microsoft.com/office/drawing/2014/main" id="{74028100-6752-4BD6-8757-694F3E498E25}"/>
              </a:ext>
            </a:extLst>
          </p:cNvPr>
          <p:cNvSpPr/>
          <p:nvPr/>
        </p:nvSpPr>
        <p:spPr>
          <a:xfrm>
            <a:off x="172060" y="6573215"/>
            <a:ext cx="10191140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Národní registr zdravotnických pracovníků (NRZP), ÚZIS ČR; Informační systém infekční nemoci (ISIN) </a:t>
            </a:r>
          </a:p>
        </p:txBody>
      </p:sp>
      <p:sp>
        <p:nvSpPr>
          <p:cNvPr id="9" name="TextBox 6">
            <a:extLst>
              <a:ext uri="{FF2B5EF4-FFF2-40B4-BE49-F238E27FC236}">
                <a16:creationId xmlns:a16="http://schemas.microsoft.com/office/drawing/2014/main" id="{7D8455FB-AA19-461A-A8C9-7539A364F2DC}"/>
              </a:ext>
            </a:extLst>
          </p:cNvPr>
          <p:cNvSpPr txBox="1"/>
          <p:nvPr/>
        </p:nvSpPr>
        <p:spPr>
          <a:xfrm>
            <a:off x="10001250" y="6540606"/>
            <a:ext cx="201869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cs-CZ" sz="1400" b="1" dirty="0"/>
              <a:t>Stav k 4. 3. 2022 </a:t>
            </a:r>
          </a:p>
        </p:txBody>
      </p:sp>
      <p:graphicFrame>
        <p:nvGraphicFramePr>
          <p:cNvPr id="11" name="Tabulka 10">
            <a:extLst>
              <a:ext uri="{FF2B5EF4-FFF2-40B4-BE49-F238E27FC236}">
                <a16:creationId xmlns:a16="http://schemas.microsoft.com/office/drawing/2014/main" id="{AF1561B3-7273-473B-A2DD-A77D8870E05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2110941"/>
              </p:ext>
            </p:extLst>
          </p:nvPr>
        </p:nvGraphicFramePr>
        <p:xfrm>
          <a:off x="172060" y="835886"/>
          <a:ext cx="11847876" cy="4993645"/>
        </p:xfrm>
        <a:graphic>
          <a:graphicData uri="http://schemas.openxmlformats.org/drawingml/2006/table">
            <a:tbl>
              <a:tblPr/>
              <a:tblGrid>
                <a:gridCol w="2249451">
                  <a:extLst>
                    <a:ext uri="{9D8B030D-6E8A-4147-A177-3AD203B41FA5}">
                      <a16:colId xmlns:a16="http://schemas.microsoft.com/office/drawing/2014/main" val="652507569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3477482594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2314989255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1133656534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3707313385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2614584230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3645035601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588882927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2171033188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3922541207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416196272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1768927368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3636322451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3251406687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3054528204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575082524"/>
                    </a:ext>
                  </a:extLst>
                </a:gridCol>
              </a:tblGrid>
              <a:tr h="43493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čkovaných alespoň jednou dávkou (podíl ze všech pracovníků daného povolání)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HA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C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HC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V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L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B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K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YS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HM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S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*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48974545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mocnice akutní péče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39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97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23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06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16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95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39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39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17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1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71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20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36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7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72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9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54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8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 846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03397526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mocnice následné peče a jiná lůžková zařízení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6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6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0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7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0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4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7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6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5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656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9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67148793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sychiatrické léčebny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1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5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4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4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0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0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683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1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45978599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ázeňské léčebny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3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5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6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2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4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5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44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0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6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5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0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6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90681261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mostatná ordinace praktického lékaře pro dospělé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3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2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5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3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2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3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333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99956148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mostatná ordinace praktického lékaře pro děti a dorost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4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5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4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4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2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2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560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48753742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mostatná ordinace zubního lékaře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8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9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5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8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3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519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1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91169380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mostatná ordinace gynekologa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4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2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5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2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208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63463250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mostatná ordinace lékaře specialisty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49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9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0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6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2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588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94938465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pt-BR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statní ambulantní zařízení a laboratoře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06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38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4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1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16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1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4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10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1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9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5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8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15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8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 009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82312617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dravotnická záchranná služba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7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4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1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2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9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13997440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ékárny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2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5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24247117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statní zdravotnická zařízení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1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6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3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5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1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8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9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67</a:t>
                      </a:r>
                      <a:b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0594384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48709238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adpis 1"/>
          <p:cNvSpPr txBox="1">
            <a:spLocks/>
          </p:cNvSpPr>
          <p:nvPr/>
        </p:nvSpPr>
        <p:spPr>
          <a:xfrm>
            <a:off x="0" y="3900347"/>
            <a:ext cx="12192000" cy="1534294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b="1" kern="12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4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I.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4400" dirty="0">
                <a:solidFill>
                  <a:srgbClr val="000000"/>
                </a:solidFill>
              </a:rPr>
              <a:t>Přehled stavu očkování ZP </a:t>
            </a:r>
            <a:endParaRPr kumimoji="0" lang="cs-CZ" sz="4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</p:txBody>
      </p:sp>
      <p:sp>
        <p:nvSpPr>
          <p:cNvPr id="5" name="Nadpis 1"/>
          <p:cNvSpPr txBox="1">
            <a:spLocks/>
          </p:cNvSpPr>
          <p:nvPr/>
        </p:nvSpPr>
        <p:spPr>
          <a:xfrm>
            <a:off x="73152" y="1801368"/>
            <a:ext cx="12192000" cy="1690573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97500"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b="1" kern="12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4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Stav a vývoj epidemie COVID-19 </a:t>
            </a:r>
            <a:br>
              <a:rPr kumimoji="0" lang="cs-CZ" sz="4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</a:br>
            <a:r>
              <a:rPr kumimoji="0" lang="cs-CZ" sz="4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v dostupných datech</a:t>
            </a:r>
          </a:p>
        </p:txBody>
      </p:sp>
    </p:spTree>
    <p:extLst>
      <p:ext uri="{BB962C8B-B14F-4D97-AF65-F5344CB8AC3E}">
        <p14:creationId xmlns:p14="http://schemas.microsoft.com/office/powerpoint/2010/main" val="3142802957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ulka 3">
            <a:extLst>
              <a:ext uri="{FF2B5EF4-FFF2-40B4-BE49-F238E27FC236}">
                <a16:creationId xmlns:a16="http://schemas.microsoft.com/office/drawing/2014/main" id="{52482748-7777-4FEF-A872-F35246E6004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67529732"/>
              </p:ext>
            </p:extLst>
          </p:nvPr>
        </p:nvGraphicFramePr>
        <p:xfrm>
          <a:off x="2419349" y="1343818"/>
          <a:ext cx="9600585" cy="4485715"/>
        </p:xfrm>
        <a:graphic>
          <a:graphicData uri="http://schemas.openxmlformats.org/drawingml/2006/table">
            <a:tbl>
              <a:tblPr/>
              <a:tblGrid>
                <a:gridCol w="640039">
                  <a:extLst>
                    <a:ext uri="{9D8B030D-6E8A-4147-A177-3AD203B41FA5}">
                      <a16:colId xmlns:a16="http://schemas.microsoft.com/office/drawing/2014/main" val="1717245493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303855175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614971958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1465413818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3008223953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1420791113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2240333787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624564092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1543564524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152023648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2874452437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3944560054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4149686087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3185689110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1002258274"/>
                    </a:ext>
                  </a:extLst>
                </a:gridCol>
              </a:tblGrid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EE2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EDD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6E4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0DE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EA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5DF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DE6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B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1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CE1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7E9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6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C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1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2E88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2542965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A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CE6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3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5E8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5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8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6E4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C37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D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C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A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C0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67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4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A8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35859598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5DF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0E2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1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7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5DB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9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6DB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1E7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1E3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BE6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1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9E58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3333048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F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C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3E3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0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6E9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2DA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57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DD8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826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A77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0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67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D7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65865669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5D6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4D6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4D6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4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5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CE1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67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3CC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AD3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B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2DA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5CD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8D78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00618349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4D6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4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AD7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AD7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4E88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83819629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2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FE7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F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0E7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7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B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EA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4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B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B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3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5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6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E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D8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14339344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81C7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F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AD7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4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F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2DA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4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EB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B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3E38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03001425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DE2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8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0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DE6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C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3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F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7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1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9E5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B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EB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9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B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3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7737561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6E9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7E9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F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2E8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5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0E7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9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3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6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F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D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9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6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C57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2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07068108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0D9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1D0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ED4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7D2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0D5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BDC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9D3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1D5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3DF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7E0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6DB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B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1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DD8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2DA8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73313172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6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6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3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8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C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E9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EE7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5E8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B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6E9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8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6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F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A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0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97430254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DDD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8E5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2DE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EA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7E4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1E3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EE6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B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1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B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9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1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A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6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EA8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96375905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2538" y="0"/>
            <a:ext cx="8284712" cy="576000"/>
          </a:xfrm>
        </p:spPr>
        <p:txBody>
          <a:bodyPr/>
          <a:lstStyle/>
          <a:p>
            <a:r>
              <a:rPr lang="cs-CZ" dirty="0"/>
              <a:t>Očkovaní ostatní ZP* podle typu zdravotnického zařízení</a:t>
            </a:r>
          </a:p>
        </p:txBody>
      </p:sp>
      <p:sp>
        <p:nvSpPr>
          <p:cNvPr id="18" name="Obdélník 17">
            <a:extLst>
              <a:ext uri="{FF2B5EF4-FFF2-40B4-BE49-F238E27FC236}">
                <a16:creationId xmlns:a16="http://schemas.microsoft.com/office/drawing/2014/main" id="{807777C6-243E-41FA-BD00-EE19544600CE}"/>
              </a:ext>
            </a:extLst>
          </p:cNvPr>
          <p:cNvSpPr/>
          <p:nvPr/>
        </p:nvSpPr>
        <p:spPr>
          <a:xfrm>
            <a:off x="119367" y="6013803"/>
            <a:ext cx="11953265" cy="6001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NLZP § 7 až § 42 kromě § 21b, farmaceuti; jedna osoba může pracovat ve více krajích a ve více typech zdravotnických zařízení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o analýzy jsou zahrnuti pouze zdravotničtí pracovníci nahlášení poskytovateli zdravotnických služeb jako aktuálně zaměstnaní. Výsledky mohou být ovlivněny úplností hlášení poskytovatelů zdravotních služeb do NRZP.</a:t>
            </a:r>
          </a:p>
        </p:txBody>
      </p:sp>
      <p:sp>
        <p:nvSpPr>
          <p:cNvPr id="21" name="Obdélník 20">
            <a:extLst>
              <a:ext uri="{FF2B5EF4-FFF2-40B4-BE49-F238E27FC236}">
                <a16:creationId xmlns:a16="http://schemas.microsoft.com/office/drawing/2014/main" id="{74028100-6752-4BD6-8757-694F3E498E25}"/>
              </a:ext>
            </a:extLst>
          </p:cNvPr>
          <p:cNvSpPr/>
          <p:nvPr/>
        </p:nvSpPr>
        <p:spPr>
          <a:xfrm>
            <a:off x="172060" y="6573215"/>
            <a:ext cx="10191140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Národní registr zdravotnických pracovníků (NRZP), ÚZIS ČR; Informační systém infekční nemoci (ISIN) </a:t>
            </a:r>
          </a:p>
        </p:txBody>
      </p:sp>
      <p:sp>
        <p:nvSpPr>
          <p:cNvPr id="9" name="TextBox 6">
            <a:extLst>
              <a:ext uri="{FF2B5EF4-FFF2-40B4-BE49-F238E27FC236}">
                <a16:creationId xmlns:a16="http://schemas.microsoft.com/office/drawing/2014/main" id="{F8BE7577-D0D0-4CAF-8960-5C7A9603C643}"/>
              </a:ext>
            </a:extLst>
          </p:cNvPr>
          <p:cNvSpPr txBox="1"/>
          <p:nvPr/>
        </p:nvSpPr>
        <p:spPr>
          <a:xfrm>
            <a:off x="10001250" y="6540606"/>
            <a:ext cx="201869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cs-CZ" sz="1400" b="1" dirty="0"/>
              <a:t>Stav k 4. 3. 2022 </a:t>
            </a:r>
          </a:p>
        </p:txBody>
      </p:sp>
      <p:graphicFrame>
        <p:nvGraphicFramePr>
          <p:cNvPr id="11" name="Tabulka 10">
            <a:extLst>
              <a:ext uri="{FF2B5EF4-FFF2-40B4-BE49-F238E27FC236}">
                <a16:creationId xmlns:a16="http://schemas.microsoft.com/office/drawing/2014/main" id="{50FC5E21-D439-468C-9A0B-56B392BA283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77694685"/>
              </p:ext>
            </p:extLst>
          </p:nvPr>
        </p:nvGraphicFramePr>
        <p:xfrm>
          <a:off x="172060" y="835886"/>
          <a:ext cx="11847876" cy="4993645"/>
        </p:xfrm>
        <a:graphic>
          <a:graphicData uri="http://schemas.openxmlformats.org/drawingml/2006/table">
            <a:tbl>
              <a:tblPr/>
              <a:tblGrid>
                <a:gridCol w="2249451">
                  <a:extLst>
                    <a:ext uri="{9D8B030D-6E8A-4147-A177-3AD203B41FA5}">
                      <a16:colId xmlns:a16="http://schemas.microsoft.com/office/drawing/2014/main" val="652507569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3477482594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2314989255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1133656534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3707313385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2614584230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3645035601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588882927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2171033188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3922541207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416196272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1768927368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3636322451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3251406687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3054528204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575082524"/>
                    </a:ext>
                  </a:extLst>
                </a:gridCol>
              </a:tblGrid>
              <a:tr h="43493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čkovaných alespoň jednou dávkou (podíl ze všech pracovníků daného povolání)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HA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C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HC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V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L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B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K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YS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HM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S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*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48974545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mocnice akutní péče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98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48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07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29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7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72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54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99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1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11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9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52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10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16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6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46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8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38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9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 440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03397526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mocnice následné peče a jiná lůžková zařízení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1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9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0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7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2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8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4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9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1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8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6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433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7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67148793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sychiatrické léčebny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5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0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3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9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171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45978599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ázeňské léčebny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5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0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5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0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9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56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5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59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8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487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0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90681261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mostatná ordinace praktického lékaře pro dospělé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6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2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4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7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4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1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99956148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mostatná ordinace praktického lékaře pro děti a dorost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6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5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6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48753742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mostatná ordinace zubního lékaře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2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9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8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3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1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6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3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1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5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6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6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4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908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8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91169380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mostatná ordinace gynekologa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6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5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6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5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6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1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7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7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63463250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mostatná ordinace lékaře specialisty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0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9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8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9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5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6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5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7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1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7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0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283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9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94938465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pt-BR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statní ambulantní zařízení a laboratoře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19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8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0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1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9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6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8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8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3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2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07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2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 917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9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82312617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dravotnická záchranná služba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9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6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2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2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1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5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9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641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13997440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ékárny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45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6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14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0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9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1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8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1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35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7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2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8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10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7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 903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9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24247117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statní zdravotnická zařízení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3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9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1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1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5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9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6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947</a:t>
                      </a:r>
                      <a:b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0594384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805278649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adpis 1"/>
          <p:cNvSpPr txBox="1">
            <a:spLocks/>
          </p:cNvSpPr>
          <p:nvPr/>
        </p:nvSpPr>
        <p:spPr>
          <a:xfrm>
            <a:off x="0" y="3900347"/>
            <a:ext cx="12192000" cy="1534294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b="1" kern="12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4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II.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4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Současné nákazy a virová zátěž ZP </a:t>
            </a:r>
          </a:p>
        </p:txBody>
      </p:sp>
      <p:sp>
        <p:nvSpPr>
          <p:cNvPr id="5" name="Nadpis 1"/>
          <p:cNvSpPr txBox="1">
            <a:spLocks/>
          </p:cNvSpPr>
          <p:nvPr/>
        </p:nvSpPr>
        <p:spPr>
          <a:xfrm>
            <a:off x="73152" y="1801368"/>
            <a:ext cx="12192000" cy="1690573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97500"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b="1" kern="12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4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Stav a vývoj epidemie COVID-19 </a:t>
            </a:r>
            <a:br>
              <a:rPr kumimoji="0" lang="cs-CZ" sz="4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</a:br>
            <a:r>
              <a:rPr kumimoji="0" lang="cs-CZ" sz="4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v dostupných datech</a:t>
            </a:r>
          </a:p>
        </p:txBody>
      </p:sp>
    </p:spTree>
    <p:extLst>
      <p:ext uri="{BB962C8B-B14F-4D97-AF65-F5344CB8AC3E}">
        <p14:creationId xmlns:p14="http://schemas.microsoft.com/office/powerpoint/2010/main" val="2429211826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Obdélník 4">
            <a:extLst>
              <a:ext uri="{FF2B5EF4-FFF2-40B4-BE49-F238E27FC236}">
                <a16:creationId xmlns:a16="http://schemas.microsoft.com/office/drawing/2014/main" id="{CD96D264-7DB7-4540-BD2A-BEA7AA3CDEDF}"/>
              </a:ext>
            </a:extLst>
          </p:cNvPr>
          <p:cNvSpPr/>
          <p:nvPr/>
        </p:nvSpPr>
        <p:spPr>
          <a:xfrm>
            <a:off x="609693" y="647811"/>
            <a:ext cx="10971018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 fontAlgn="ctr"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nově COVID-19 pozitivních (incidence), </a:t>
            </a:r>
            <a:r>
              <a:rPr lang="cs-CZ" sz="2000" b="1" dirty="0">
                <a:solidFill>
                  <a:srgbClr val="C00000"/>
                </a:solidFill>
                <a:latin typeface="Calibri" panose="020F0502020204030204" pitchFamily="34" charset="0"/>
              </a:rPr>
              <a:t>stav k 4. 3. 2022</a:t>
            </a:r>
            <a:endParaRPr kumimoji="0" lang="cs-CZ" sz="2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15" name="TextovéPole 8">
            <a:extLst>
              <a:ext uri="{FF2B5EF4-FFF2-40B4-BE49-F238E27FC236}">
                <a16:creationId xmlns:a16="http://schemas.microsoft.com/office/drawing/2014/main" id="{647DDAC2-3C77-4F03-9BD2-24C7C1216857}"/>
              </a:ext>
            </a:extLst>
          </p:cNvPr>
          <p:cNvSpPr txBox="1"/>
          <p:nvPr/>
        </p:nvSpPr>
        <p:spPr>
          <a:xfrm>
            <a:off x="2990850" y="6567385"/>
            <a:ext cx="636270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100" dirty="0">
                <a:latin typeface="Calibri" panose="020F0502020204030204" pitchFamily="34" charset="0"/>
                <a:cs typeface="Calibri" panose="020F0502020204030204" pitchFamily="34" charset="0"/>
              </a:rPr>
              <a:t>Zdroj: ISIN – Informační systém infekční nemocí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9FAB93A6-2228-45F5-872E-1F511F38CC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9010" y="2"/>
            <a:ext cx="7864952" cy="576000"/>
          </a:xfrm>
        </p:spPr>
        <p:txBody>
          <a:bodyPr/>
          <a:lstStyle/>
          <a:p>
            <a:r>
              <a:rPr lang="cs-CZ" dirty="0"/>
              <a:t>Počty pracovníků ve zdravotnictví s nákazou COVID-19</a:t>
            </a:r>
          </a:p>
        </p:txBody>
      </p:sp>
      <p:graphicFrame>
        <p:nvGraphicFramePr>
          <p:cNvPr id="8" name="Graf 7">
            <a:extLst>
              <a:ext uri="{FF2B5EF4-FFF2-40B4-BE49-F238E27FC236}">
                <a16:creationId xmlns:a16="http://schemas.microsoft.com/office/drawing/2014/main" id="{43448D1D-2E05-45CA-A866-143DDBF5BA0C}"/>
              </a:ext>
            </a:extLst>
          </p:cNvPr>
          <p:cNvGraphicFramePr/>
          <p:nvPr/>
        </p:nvGraphicFramePr>
        <p:xfrm>
          <a:off x="142875" y="1119730"/>
          <a:ext cx="7153275" cy="544765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9" name="Tabulka 8">
            <a:extLst>
              <a:ext uri="{FF2B5EF4-FFF2-40B4-BE49-F238E27FC236}">
                <a16:creationId xmlns:a16="http://schemas.microsoft.com/office/drawing/2014/main" id="{7C1367ED-B273-4E58-BBB3-AD1B81F63A12}"/>
              </a:ext>
            </a:extLst>
          </p:cNvPr>
          <p:cNvGraphicFramePr>
            <a:graphicFrameLocks noGrp="1"/>
          </p:cNvGraphicFramePr>
          <p:nvPr/>
        </p:nvGraphicFramePr>
        <p:xfrm>
          <a:off x="7296150" y="1209675"/>
          <a:ext cx="4661411" cy="5209594"/>
        </p:xfrm>
        <a:graphic>
          <a:graphicData uri="http://schemas.openxmlformats.org/drawingml/2006/table">
            <a:tbl>
              <a:tblPr/>
              <a:tblGrid>
                <a:gridCol w="1453112">
                  <a:extLst>
                    <a:ext uri="{9D8B030D-6E8A-4147-A177-3AD203B41FA5}">
                      <a16:colId xmlns:a16="http://schemas.microsoft.com/office/drawing/2014/main" val="413071720"/>
                    </a:ext>
                  </a:extLst>
                </a:gridCol>
                <a:gridCol w="782840">
                  <a:extLst>
                    <a:ext uri="{9D8B030D-6E8A-4147-A177-3AD203B41FA5}">
                      <a16:colId xmlns:a16="http://schemas.microsoft.com/office/drawing/2014/main" val="3345832007"/>
                    </a:ext>
                  </a:extLst>
                </a:gridCol>
                <a:gridCol w="782840">
                  <a:extLst>
                    <a:ext uri="{9D8B030D-6E8A-4147-A177-3AD203B41FA5}">
                      <a16:colId xmlns:a16="http://schemas.microsoft.com/office/drawing/2014/main" val="3216505177"/>
                    </a:ext>
                  </a:extLst>
                </a:gridCol>
                <a:gridCol w="840544">
                  <a:extLst>
                    <a:ext uri="{9D8B030D-6E8A-4147-A177-3AD203B41FA5}">
                      <a16:colId xmlns:a16="http://schemas.microsoft.com/office/drawing/2014/main" val="1240375351"/>
                    </a:ext>
                  </a:extLst>
                </a:gridCol>
                <a:gridCol w="802075">
                  <a:extLst>
                    <a:ext uri="{9D8B030D-6E8A-4147-A177-3AD203B41FA5}">
                      <a16:colId xmlns:a16="http://schemas.microsoft.com/office/drawing/2014/main" val="1696405920"/>
                    </a:ext>
                  </a:extLst>
                </a:gridCol>
              </a:tblGrid>
              <a:tr h="872809"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7 denní klouzavý průměr </a:t>
                      </a:r>
                    </a:p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(poslední den)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i="0" u="none" strike="noStrike" dirty="0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Lékaři</a:t>
                      </a:r>
                      <a:endParaRPr lang="cs-CZ" sz="1200" b="0" i="0" u="none" strike="noStrike" dirty="0">
                        <a:solidFill>
                          <a:srgbClr val="4472C4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i="0" u="none" strike="noStrike" dirty="0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Sesterská povolání </a:t>
                      </a:r>
                      <a:endParaRPr lang="cs-CZ" sz="1200" b="0" i="0" u="none" strike="noStrike" dirty="0">
                        <a:solidFill>
                          <a:srgbClr val="ED7D3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i="0" u="none" strike="noStrike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Ostatní zdravotničtí pracovníci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31832207"/>
                  </a:ext>
                </a:extLst>
              </a:tr>
              <a:tr h="28911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Hlavní město Praha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11 (1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24 (2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20 (1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 (5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06640817"/>
                  </a:ext>
                </a:extLst>
              </a:tr>
              <a:tr h="28911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3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7 (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8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 (1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74809383"/>
                  </a:ext>
                </a:extLst>
              </a:tr>
              <a:tr h="28911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3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6 (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5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 (1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10249884"/>
                  </a:ext>
                </a:extLst>
              </a:tr>
              <a:tr h="28911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3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9 (1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6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 (1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10390105"/>
                  </a:ext>
                </a:extLst>
              </a:tr>
              <a:tr h="28911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2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3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(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31515625"/>
                  </a:ext>
                </a:extLst>
              </a:tr>
              <a:tr h="28911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2 (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6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8 (1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(1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03285489"/>
                  </a:ext>
                </a:extLst>
              </a:tr>
              <a:tr h="28911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1 (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2 (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63928224"/>
                  </a:ext>
                </a:extLst>
              </a:tr>
              <a:tr h="28911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2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7 (9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4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 (1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13425417"/>
                  </a:ext>
                </a:extLst>
              </a:tr>
              <a:tr h="28911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1 (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1 (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21319143"/>
                  </a:ext>
                </a:extLst>
              </a:tr>
              <a:tr h="28911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2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7 (1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5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 (1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469061"/>
                  </a:ext>
                </a:extLst>
              </a:tr>
              <a:tr h="28911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6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14 (1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10 (1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 (29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0745060"/>
                  </a:ext>
                </a:extLst>
              </a:tr>
              <a:tr h="28911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2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7 (1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5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 (19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4359134"/>
                  </a:ext>
                </a:extLst>
              </a:tr>
              <a:tr h="28911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2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4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6 (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 (1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65124751"/>
                  </a:ext>
                </a:extLst>
              </a:tr>
              <a:tr h="28911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4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11 (1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9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 (1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58326513"/>
                  </a:ext>
                </a:extLst>
              </a:tr>
              <a:tr h="28911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43 (4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107 (11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93 (7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4 (23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31328876"/>
                  </a:ext>
                </a:extLst>
              </a:tr>
            </a:tbl>
          </a:graphicData>
        </a:graphic>
      </p:graphicFrame>
      <p:cxnSp>
        <p:nvCxnSpPr>
          <p:cNvPr id="14" name="Straight Connector 4">
            <a:extLst>
              <a:ext uri="{FF2B5EF4-FFF2-40B4-BE49-F238E27FC236}">
                <a16:creationId xmlns:a16="http://schemas.microsoft.com/office/drawing/2014/main" id="{F5F70D9E-87A2-4BFA-BE04-CC7F4241D0B4}"/>
              </a:ext>
            </a:extLst>
          </p:cNvPr>
          <p:cNvCxnSpPr/>
          <p:nvPr/>
        </p:nvCxnSpPr>
        <p:spPr>
          <a:xfrm>
            <a:off x="5608128" y="1540420"/>
            <a:ext cx="216000" cy="0"/>
          </a:xfrm>
          <a:prstGeom prst="line">
            <a:avLst/>
          </a:prstGeom>
          <a:ln w="19050">
            <a:solidFill>
              <a:schemeClr val="tx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Box 5">
            <a:extLst>
              <a:ext uri="{FF2B5EF4-FFF2-40B4-BE49-F238E27FC236}">
                <a16:creationId xmlns:a16="http://schemas.microsoft.com/office/drawing/2014/main" id="{39CA3BBA-412B-4A3C-ADC1-DAF4B494D04F}"/>
              </a:ext>
            </a:extLst>
          </p:cNvPr>
          <p:cNvSpPr txBox="1"/>
          <p:nvPr/>
        </p:nvSpPr>
        <p:spPr>
          <a:xfrm>
            <a:off x="5791070" y="1371146"/>
            <a:ext cx="1341224" cy="5978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1100"/>
              </a:lnSpc>
              <a:spcBef>
                <a:spcPts val="600"/>
              </a:spcBef>
            </a:pPr>
            <a:r>
              <a:rPr lang="cs-CZ" sz="1200" b="1" dirty="0">
                <a:latin typeface="Calibri" panose="020F0502020204030204" pitchFamily="34" charset="0"/>
                <a:cs typeface="Calibri" panose="020F0502020204030204" pitchFamily="34" charset="0"/>
              </a:rPr>
              <a:t>7 denní klouzavý průměr</a:t>
            </a:r>
          </a:p>
          <a:p>
            <a:pPr>
              <a:lnSpc>
                <a:spcPts val="1100"/>
              </a:lnSpc>
              <a:spcBef>
                <a:spcPts val="600"/>
              </a:spcBef>
            </a:pPr>
            <a:r>
              <a:rPr lang="cs-CZ" sz="1200" b="1" dirty="0">
                <a:latin typeface="Calibri" panose="020F0502020204030204" pitchFamily="34" charset="0"/>
                <a:cs typeface="Calibri" panose="020F0502020204030204" pitchFamily="34" charset="0"/>
              </a:rPr>
              <a:t>denní hodnoty</a:t>
            </a:r>
          </a:p>
        </p:txBody>
      </p:sp>
      <p:cxnSp>
        <p:nvCxnSpPr>
          <p:cNvPr id="17" name="Straight Connector 4">
            <a:extLst>
              <a:ext uri="{FF2B5EF4-FFF2-40B4-BE49-F238E27FC236}">
                <a16:creationId xmlns:a16="http://schemas.microsoft.com/office/drawing/2014/main" id="{49368D80-8513-4AF4-B12A-04F7F7E5994A}"/>
              </a:ext>
            </a:extLst>
          </p:cNvPr>
          <p:cNvCxnSpPr/>
          <p:nvPr/>
        </p:nvCxnSpPr>
        <p:spPr>
          <a:xfrm>
            <a:off x="5608128" y="1835695"/>
            <a:ext cx="216000" cy="0"/>
          </a:xfrm>
          <a:prstGeom prst="line">
            <a:avLst/>
          </a:prstGeom>
          <a:ln w="6350">
            <a:solidFill>
              <a:schemeClr val="tx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Box 5">
            <a:extLst>
              <a:ext uri="{FF2B5EF4-FFF2-40B4-BE49-F238E27FC236}">
                <a16:creationId xmlns:a16="http://schemas.microsoft.com/office/drawing/2014/main" id="{5F83CAAA-A3F3-4137-A444-807362C84989}"/>
              </a:ext>
            </a:extLst>
          </p:cNvPr>
          <p:cNvSpPr txBox="1"/>
          <p:nvPr/>
        </p:nvSpPr>
        <p:spPr>
          <a:xfrm>
            <a:off x="5501588" y="3751224"/>
            <a:ext cx="134122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i="1" dirty="0">
                <a:latin typeface="Calibri" panose="020F0502020204030204" pitchFamily="34" charset="0"/>
                <a:cs typeface="Calibri" panose="020F0502020204030204" pitchFamily="34" charset="0"/>
              </a:rPr>
              <a:t>Poslední den:</a:t>
            </a:r>
          </a:p>
        </p:txBody>
      </p:sp>
    </p:spTree>
    <p:extLst>
      <p:ext uri="{BB962C8B-B14F-4D97-AF65-F5344CB8AC3E}">
        <p14:creationId xmlns:p14="http://schemas.microsoft.com/office/powerpoint/2010/main" val="3959215587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Graf 6">
            <a:extLst>
              <a:ext uri="{FF2B5EF4-FFF2-40B4-BE49-F238E27FC236}">
                <a16:creationId xmlns:a16="http://schemas.microsoft.com/office/drawing/2014/main" id="{4E2462CD-2C28-4222-9D6A-55BCDDF9CD02}"/>
              </a:ext>
            </a:extLst>
          </p:cNvPr>
          <p:cNvGraphicFramePr/>
          <p:nvPr/>
        </p:nvGraphicFramePr>
        <p:xfrm>
          <a:off x="142875" y="1083825"/>
          <a:ext cx="7153275" cy="544765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1" name="Obdélník 4">
            <a:extLst>
              <a:ext uri="{FF2B5EF4-FFF2-40B4-BE49-F238E27FC236}">
                <a16:creationId xmlns:a16="http://schemas.microsoft.com/office/drawing/2014/main" id="{CD96D264-7DB7-4540-BD2A-BEA7AA3CDEDF}"/>
              </a:ext>
            </a:extLst>
          </p:cNvPr>
          <p:cNvSpPr/>
          <p:nvPr/>
        </p:nvSpPr>
        <p:spPr>
          <a:xfrm>
            <a:off x="609693" y="647811"/>
            <a:ext cx="10971018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 fontAlgn="ctr"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Aktuální počet COVID-19 pozitivních (prevalence)*, </a:t>
            </a:r>
            <a:r>
              <a:rPr lang="cs-CZ" sz="2000" b="1" dirty="0">
                <a:solidFill>
                  <a:srgbClr val="C00000"/>
                </a:solidFill>
                <a:latin typeface="Calibri" panose="020F0502020204030204" pitchFamily="34" charset="0"/>
              </a:rPr>
              <a:t>stav k 4. 3. 2022</a:t>
            </a:r>
            <a:endParaRPr kumimoji="0" lang="cs-CZ" sz="2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15" name="TextovéPole 8">
            <a:extLst>
              <a:ext uri="{FF2B5EF4-FFF2-40B4-BE49-F238E27FC236}">
                <a16:creationId xmlns:a16="http://schemas.microsoft.com/office/drawing/2014/main" id="{647DDAC2-3C77-4F03-9BD2-24C7C1216857}"/>
              </a:ext>
            </a:extLst>
          </p:cNvPr>
          <p:cNvSpPr txBox="1"/>
          <p:nvPr/>
        </p:nvSpPr>
        <p:spPr>
          <a:xfrm>
            <a:off x="723900" y="6567385"/>
            <a:ext cx="493395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100" dirty="0">
                <a:latin typeface="Calibri" panose="020F0502020204030204" pitchFamily="34" charset="0"/>
                <a:cs typeface="Calibri" panose="020F0502020204030204" pitchFamily="34" charset="0"/>
              </a:rPr>
              <a:t>Zdroj: ISIN – Informační systém infekční nemocí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9FAB93A6-2228-45F5-872E-1F511F38CC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9010" y="2"/>
            <a:ext cx="7864952" cy="576000"/>
          </a:xfrm>
        </p:spPr>
        <p:txBody>
          <a:bodyPr/>
          <a:lstStyle/>
          <a:p>
            <a:r>
              <a:rPr lang="cs-CZ" dirty="0"/>
              <a:t>Počty pracovníků ve zdravotnictví s nákazou COVID-19</a:t>
            </a:r>
          </a:p>
        </p:txBody>
      </p:sp>
      <p:graphicFrame>
        <p:nvGraphicFramePr>
          <p:cNvPr id="9" name="Tabulka 8">
            <a:extLst>
              <a:ext uri="{FF2B5EF4-FFF2-40B4-BE49-F238E27FC236}">
                <a16:creationId xmlns:a16="http://schemas.microsoft.com/office/drawing/2014/main" id="{7C1367ED-B273-4E58-BBB3-AD1B81F63A12}"/>
              </a:ext>
            </a:extLst>
          </p:cNvPr>
          <p:cNvGraphicFramePr>
            <a:graphicFrameLocks noGrp="1"/>
          </p:cNvGraphicFramePr>
          <p:nvPr/>
        </p:nvGraphicFramePr>
        <p:xfrm>
          <a:off x="7296150" y="1256231"/>
          <a:ext cx="4752977" cy="5163612"/>
        </p:xfrm>
        <a:graphic>
          <a:graphicData uri="http://schemas.openxmlformats.org/drawingml/2006/table">
            <a:tbl>
              <a:tblPr/>
              <a:tblGrid>
                <a:gridCol w="1456505">
                  <a:extLst>
                    <a:ext uri="{9D8B030D-6E8A-4147-A177-3AD203B41FA5}">
                      <a16:colId xmlns:a16="http://schemas.microsoft.com/office/drawing/2014/main" val="413071720"/>
                    </a:ext>
                  </a:extLst>
                </a:gridCol>
                <a:gridCol w="824118">
                  <a:extLst>
                    <a:ext uri="{9D8B030D-6E8A-4147-A177-3AD203B41FA5}">
                      <a16:colId xmlns:a16="http://schemas.microsoft.com/office/drawing/2014/main" val="3345832007"/>
                    </a:ext>
                  </a:extLst>
                </a:gridCol>
                <a:gridCol w="824118">
                  <a:extLst>
                    <a:ext uri="{9D8B030D-6E8A-4147-A177-3AD203B41FA5}">
                      <a16:colId xmlns:a16="http://schemas.microsoft.com/office/drawing/2014/main" val="3216505177"/>
                    </a:ext>
                  </a:extLst>
                </a:gridCol>
                <a:gridCol w="824118">
                  <a:extLst>
                    <a:ext uri="{9D8B030D-6E8A-4147-A177-3AD203B41FA5}">
                      <a16:colId xmlns:a16="http://schemas.microsoft.com/office/drawing/2014/main" val="1240375351"/>
                    </a:ext>
                  </a:extLst>
                </a:gridCol>
                <a:gridCol w="824118">
                  <a:extLst>
                    <a:ext uri="{9D8B030D-6E8A-4147-A177-3AD203B41FA5}">
                      <a16:colId xmlns:a16="http://schemas.microsoft.com/office/drawing/2014/main" val="1696405920"/>
                    </a:ext>
                  </a:extLst>
                </a:gridCol>
              </a:tblGrid>
              <a:tr h="886302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i="0" u="none" strike="noStrike" dirty="0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Lékaři</a:t>
                      </a:r>
                      <a:endParaRPr lang="cs-CZ" sz="1200" b="0" i="0" u="none" strike="noStrike" dirty="0">
                        <a:solidFill>
                          <a:srgbClr val="4472C4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i="0" u="none" strike="noStrike" dirty="0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Sesterská povolání </a:t>
                      </a:r>
                      <a:endParaRPr lang="cs-CZ" sz="1200" b="0" i="0" u="none" strike="noStrike" dirty="0">
                        <a:solidFill>
                          <a:srgbClr val="ED7D3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i="0" u="none" strike="noStrike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Ostatní zdravotničtí pracovníci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31832207"/>
                  </a:ext>
                </a:extLst>
              </a:tr>
              <a:tr h="285154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Hlavní město Praha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11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23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19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06640817"/>
                  </a:ext>
                </a:extLst>
              </a:tr>
              <a:tr h="285154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7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8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74809383"/>
                  </a:ext>
                </a:extLst>
              </a:tr>
              <a:tr h="285154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5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4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10249884"/>
                  </a:ext>
                </a:extLst>
              </a:tr>
              <a:tr h="285154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8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6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10390105"/>
                  </a:ext>
                </a:extLst>
              </a:tr>
              <a:tr h="285154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31515625"/>
                  </a:ext>
                </a:extLst>
              </a:tr>
              <a:tr h="285154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5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8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03285489"/>
                  </a:ext>
                </a:extLst>
              </a:tr>
              <a:tr h="285154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63928224"/>
                  </a:ext>
                </a:extLst>
              </a:tr>
              <a:tr h="285154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6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4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13425417"/>
                  </a:ext>
                </a:extLst>
              </a:tr>
              <a:tr h="285154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21319143"/>
                  </a:ext>
                </a:extLst>
              </a:tr>
              <a:tr h="285154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6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5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469061"/>
                  </a:ext>
                </a:extLst>
              </a:tr>
              <a:tr h="285154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5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15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11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0745060"/>
                  </a:ext>
                </a:extLst>
              </a:tr>
              <a:tr h="285154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7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5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4359134"/>
                  </a:ext>
                </a:extLst>
              </a:tr>
              <a:tr h="285154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4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5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65124751"/>
                  </a:ext>
                </a:extLst>
              </a:tr>
              <a:tr h="285154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4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10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9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58326513"/>
                  </a:ext>
                </a:extLst>
              </a:tr>
              <a:tr h="285154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42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1 08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96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47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3132887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684316640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extovéPole 21">
            <a:extLst>
              <a:ext uri="{FF2B5EF4-FFF2-40B4-BE49-F238E27FC236}">
                <a16:creationId xmlns:a16="http://schemas.microsoft.com/office/drawing/2014/main" id="{95095AE4-15AA-4DA7-96E9-0973C161E52C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350241" y="87716"/>
            <a:ext cx="1134427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Vývoj počtu pozitivních případů aktivních lékařů</a:t>
            </a:r>
          </a:p>
        </p:txBody>
      </p:sp>
      <p:sp>
        <p:nvSpPr>
          <p:cNvPr id="13" name="Zahnutá šipka nahoru 25">
            <a:extLst>
              <a:ext uri="{FF2B5EF4-FFF2-40B4-BE49-F238E27FC236}">
                <a16:creationId xmlns:a16="http://schemas.microsoft.com/office/drawing/2014/main" id="{B6F904B9-B88B-46C5-92EF-0EB4566DC657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4105737" y="2136199"/>
            <a:ext cx="1944000" cy="497840"/>
          </a:xfrm>
          <a:prstGeom prst="curvedUpArrow">
            <a:avLst/>
          </a:prstGeom>
          <a:solidFill>
            <a:srgbClr val="FFC000"/>
          </a:solidFill>
          <a:ln>
            <a:solidFill>
              <a:srgbClr val="30598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9" name="Zahnutá šipka nahoru 25">
            <a:extLst>
              <a:ext uri="{FF2B5EF4-FFF2-40B4-BE49-F238E27FC236}">
                <a16:creationId xmlns:a16="http://schemas.microsoft.com/office/drawing/2014/main" id="{6787712D-9170-4E47-97CC-8D60809E2F5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2101417" y="2130150"/>
            <a:ext cx="1944000" cy="497840"/>
          </a:xfrm>
          <a:prstGeom prst="curvedUpArrow">
            <a:avLst/>
          </a:prstGeom>
          <a:solidFill>
            <a:srgbClr val="FFC000"/>
          </a:solidFill>
          <a:ln>
            <a:solidFill>
              <a:srgbClr val="30598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" name="Zahnutá šipka nahoru 25">
            <a:extLst>
              <a:ext uri="{FF2B5EF4-FFF2-40B4-BE49-F238E27FC236}">
                <a16:creationId xmlns:a16="http://schemas.microsoft.com/office/drawing/2014/main" id="{AACCD883-36DC-4042-87E9-99D055BFB8CE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8333317" y="2144405"/>
            <a:ext cx="1860974" cy="497840"/>
          </a:xfrm>
          <a:prstGeom prst="curvedUpArrow">
            <a:avLst/>
          </a:prstGeom>
          <a:solidFill>
            <a:srgbClr val="FFC000"/>
          </a:solidFill>
          <a:ln>
            <a:solidFill>
              <a:srgbClr val="30598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4" name="Zahnutá šipka nahoru 25">
            <a:extLst>
              <a:ext uri="{FF2B5EF4-FFF2-40B4-BE49-F238E27FC236}">
                <a16:creationId xmlns:a16="http://schemas.microsoft.com/office/drawing/2014/main" id="{C57154C7-2094-4F3A-89F5-3B2F0EBF8606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6213071" y="2131719"/>
            <a:ext cx="1944000" cy="497840"/>
          </a:xfrm>
          <a:prstGeom prst="curvedUpArrow">
            <a:avLst/>
          </a:prstGeom>
          <a:solidFill>
            <a:srgbClr val="FFC000"/>
          </a:solidFill>
          <a:ln>
            <a:solidFill>
              <a:srgbClr val="30598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15" name="Chart 4">
            <a:extLst>
              <a:ext uri="{FF2B5EF4-FFF2-40B4-BE49-F238E27FC236}">
                <a16:creationId xmlns:a16="http://schemas.microsoft.com/office/drawing/2014/main" id="{5A29735D-E67B-4582-988F-B716296F695C}"/>
              </a:ext>
            </a:extLst>
          </p:cNvPr>
          <p:cNvGraphicFramePr/>
          <p:nvPr>
            <p:custDataLst>
              <p:tags r:id="rId6"/>
            </p:custDataLst>
          </p:nvPr>
        </p:nvGraphicFramePr>
        <p:xfrm>
          <a:off x="57147" y="2876910"/>
          <a:ext cx="12030075" cy="40337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4"/>
          </a:graphicData>
        </a:graphic>
      </p:graphicFrame>
      <p:graphicFrame>
        <p:nvGraphicFramePr>
          <p:cNvPr id="16" name="Table 11">
            <a:extLst>
              <a:ext uri="{FF2B5EF4-FFF2-40B4-BE49-F238E27FC236}">
                <a16:creationId xmlns:a16="http://schemas.microsoft.com/office/drawing/2014/main" id="{2783236E-7848-4370-8C68-345D039C0ED3}"/>
              </a:ext>
            </a:extLst>
          </p:cNvPr>
          <p:cNvGraphicFramePr>
            <a:graphicFrameLocks noGrp="1"/>
          </p:cNvGraphicFramePr>
          <p:nvPr>
            <p:custDataLst>
              <p:tags r:id="rId7"/>
            </p:custDataLst>
          </p:nvPr>
        </p:nvGraphicFramePr>
        <p:xfrm>
          <a:off x="931755" y="631456"/>
          <a:ext cx="10328489" cy="2236967"/>
        </p:xfrm>
        <a:graphic>
          <a:graphicData uri="http://schemas.openxmlformats.org/drawingml/2006/table">
            <a:tbl>
              <a:tblPr/>
              <a:tblGrid>
                <a:gridCol w="781385">
                  <a:extLst>
                    <a:ext uri="{9D8B030D-6E8A-4147-A177-3AD203B41FA5}">
                      <a16:colId xmlns:a16="http://schemas.microsoft.com/office/drawing/2014/main" val="3969963914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4129480943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612071546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3307235488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1483817727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3545613051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1063795572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2069904241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2529447542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3855104309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3711905403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2188154587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1620801354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4095500680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2489013364"/>
                    </a:ext>
                  </a:extLst>
                </a:gridCol>
              </a:tblGrid>
              <a:tr h="359513"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0" marR="0" marT="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0" marR="0" marT="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0" marR="0" marT="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0" marR="0" marT="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0" marR="0" marT="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41576240"/>
                  </a:ext>
                </a:extLst>
              </a:tr>
              <a:tr h="359513"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9. 1.–4. 2. </a:t>
                      </a:r>
                    </a:p>
                  </a:txBody>
                  <a:tcPr marL="9525" marR="9525" marT="9525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5. 2.–11. 2. </a:t>
                      </a:r>
                    </a:p>
                  </a:txBody>
                  <a:tcPr marL="9525" marR="9525" marT="9525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2. 2.–18. 2. </a:t>
                      </a:r>
                    </a:p>
                  </a:txBody>
                  <a:tcPr marL="9525" marR="9525" marT="9525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9. 2.–25. 2. </a:t>
                      </a:r>
                    </a:p>
                  </a:txBody>
                  <a:tcPr marL="9525" marR="9525" marT="9525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6. 2.–4. 3. </a:t>
                      </a:r>
                    </a:p>
                  </a:txBody>
                  <a:tcPr marL="9525" marR="9525" marT="9525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94805125"/>
                  </a:ext>
                </a:extLst>
              </a:tr>
              <a:tr h="369499"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1 případů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5 případů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8 případů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9 případů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4 případů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65827543"/>
                  </a:ext>
                </a:extLst>
              </a:tr>
              <a:tr h="389472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28.6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23.5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33.0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8.5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43060953"/>
                  </a:ext>
                </a:extLst>
              </a:tr>
              <a:tr h="379485"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2090131"/>
                  </a:ext>
                </a:extLst>
              </a:tr>
              <a:tr h="379485"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4024574"/>
                  </a:ext>
                </a:extLst>
              </a:tr>
            </a:tbl>
          </a:graphicData>
        </a:graphic>
      </p:graphicFrame>
      <p:cxnSp>
        <p:nvCxnSpPr>
          <p:cNvPr id="17" name="Přímá spojnice se šipkou 16">
            <a:extLst>
              <a:ext uri="{FF2B5EF4-FFF2-40B4-BE49-F238E27FC236}">
                <a16:creationId xmlns:a16="http://schemas.microsoft.com/office/drawing/2014/main" id="{B6D9A6F5-A13A-4B7B-916B-615B1693E985}"/>
              </a:ext>
            </a:extLst>
          </p:cNvPr>
          <p:cNvCxnSpPr>
            <a:cxnSpLocks/>
          </p:cNvCxnSpPr>
          <p:nvPr>
            <p:custDataLst>
              <p:tags r:id="rId8"/>
            </p:custDataLst>
          </p:nvPr>
        </p:nvCxnSpPr>
        <p:spPr>
          <a:xfrm flipV="1">
            <a:off x="6175871" y="4668253"/>
            <a:ext cx="1189962" cy="31303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Přímá spojnice se šipkou 17">
            <a:extLst>
              <a:ext uri="{FF2B5EF4-FFF2-40B4-BE49-F238E27FC236}">
                <a16:creationId xmlns:a16="http://schemas.microsoft.com/office/drawing/2014/main" id="{F198AF3E-6BBB-45E6-BC7A-71AF129D20CC}"/>
              </a:ext>
            </a:extLst>
          </p:cNvPr>
          <p:cNvCxnSpPr>
            <a:cxnSpLocks/>
          </p:cNvCxnSpPr>
          <p:nvPr>
            <p:custDataLst>
              <p:tags r:id="rId9"/>
            </p:custDataLst>
          </p:nvPr>
        </p:nvCxnSpPr>
        <p:spPr>
          <a:xfrm>
            <a:off x="7644122" y="4667149"/>
            <a:ext cx="1067803" cy="22665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Přímá spojnice se šipkou 18">
            <a:extLst>
              <a:ext uri="{FF2B5EF4-FFF2-40B4-BE49-F238E27FC236}">
                <a16:creationId xmlns:a16="http://schemas.microsoft.com/office/drawing/2014/main" id="{56948FF6-0294-428A-B460-C0B7BE800470}"/>
              </a:ext>
            </a:extLst>
          </p:cNvPr>
          <p:cNvCxnSpPr>
            <a:cxnSpLocks/>
          </p:cNvCxnSpPr>
          <p:nvPr>
            <p:custDataLst>
              <p:tags r:id="rId10"/>
            </p:custDataLst>
          </p:nvPr>
        </p:nvCxnSpPr>
        <p:spPr>
          <a:xfrm flipV="1">
            <a:off x="9356059" y="3422165"/>
            <a:ext cx="864268" cy="154706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Přímá spojnice se šipkou 20">
            <a:extLst>
              <a:ext uri="{FF2B5EF4-FFF2-40B4-BE49-F238E27FC236}">
                <a16:creationId xmlns:a16="http://schemas.microsoft.com/office/drawing/2014/main" id="{28751FC3-3C56-48EE-940D-E0D263CFB491}"/>
              </a:ext>
            </a:extLst>
          </p:cNvPr>
          <p:cNvCxnSpPr>
            <a:cxnSpLocks/>
          </p:cNvCxnSpPr>
          <p:nvPr>
            <p:custDataLst>
              <p:tags r:id="rId11"/>
            </p:custDataLst>
          </p:nvPr>
        </p:nvCxnSpPr>
        <p:spPr>
          <a:xfrm>
            <a:off x="10477825" y="3422165"/>
            <a:ext cx="999800" cy="136891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25812284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41CFAC55-E7BE-4475-808A-CF41E61842C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381738" y="2"/>
            <a:ext cx="8438411" cy="576000"/>
          </a:xfrm>
        </p:spPr>
        <p:txBody>
          <a:bodyPr/>
          <a:lstStyle/>
          <a:p>
            <a:r>
              <a:rPr lang="cs-CZ" dirty="0"/>
              <a:t>Počty COVID-19 pozitivních na 100 000 osob v populaci lékařů</a:t>
            </a:r>
          </a:p>
        </p:txBody>
      </p:sp>
      <p:sp>
        <p:nvSpPr>
          <p:cNvPr id="12" name="Obdélník 11">
            <a:extLst>
              <a:ext uri="{FF2B5EF4-FFF2-40B4-BE49-F238E27FC236}">
                <a16:creationId xmlns:a16="http://schemas.microsoft.com/office/drawing/2014/main" id="{47330F7D-030D-49C8-BE37-CEFFFE48B489}"/>
              </a:ext>
            </a:extLst>
          </p:cNvPr>
          <p:cNvSpPr/>
          <p:nvPr/>
        </p:nvSpPr>
        <p:spPr>
          <a:xfrm>
            <a:off x="58189" y="1757297"/>
            <a:ext cx="1438102" cy="206210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COVID-19 pozitivních na 100 000 osob  v populaci lékařů (suma za hodnocený časový úsek)</a:t>
            </a:r>
          </a:p>
        </p:txBody>
      </p:sp>
      <p:graphicFrame>
        <p:nvGraphicFramePr>
          <p:cNvPr id="6" name="Graf 5">
            <a:extLst>
              <a:ext uri="{FF2B5EF4-FFF2-40B4-BE49-F238E27FC236}">
                <a16:creationId xmlns:a16="http://schemas.microsoft.com/office/drawing/2014/main" id="{6A1A17EB-9ECA-4C24-8912-EF92363C1CE3}"/>
              </a:ext>
            </a:extLst>
          </p:cNvPr>
          <p:cNvGraphicFramePr/>
          <p:nvPr>
            <p:custDataLst>
              <p:tags r:id="rId2"/>
            </p:custDataLst>
          </p:nvPr>
        </p:nvGraphicFramePr>
        <p:xfrm>
          <a:off x="1322168" y="1382699"/>
          <a:ext cx="10661843" cy="53653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2180435994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extovéPole 21">
            <a:extLst>
              <a:ext uri="{FF2B5EF4-FFF2-40B4-BE49-F238E27FC236}">
                <a16:creationId xmlns:a16="http://schemas.microsoft.com/office/drawing/2014/main" id="{95095AE4-15AA-4DA7-96E9-0973C161E52C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350241" y="87716"/>
            <a:ext cx="1134427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Vývoj počtu pozitivních případů aktivních sester</a:t>
            </a:r>
          </a:p>
        </p:txBody>
      </p:sp>
      <p:sp>
        <p:nvSpPr>
          <p:cNvPr id="13" name="Zahnutá šipka nahoru 25">
            <a:extLst>
              <a:ext uri="{FF2B5EF4-FFF2-40B4-BE49-F238E27FC236}">
                <a16:creationId xmlns:a16="http://schemas.microsoft.com/office/drawing/2014/main" id="{B6F904B9-B88B-46C5-92EF-0EB4566DC657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4105737" y="2136199"/>
            <a:ext cx="1944000" cy="497840"/>
          </a:xfrm>
          <a:prstGeom prst="curvedUpArrow">
            <a:avLst/>
          </a:prstGeom>
          <a:solidFill>
            <a:srgbClr val="FFC000"/>
          </a:solidFill>
          <a:ln>
            <a:solidFill>
              <a:srgbClr val="30598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9" name="Zahnutá šipka nahoru 25">
            <a:extLst>
              <a:ext uri="{FF2B5EF4-FFF2-40B4-BE49-F238E27FC236}">
                <a16:creationId xmlns:a16="http://schemas.microsoft.com/office/drawing/2014/main" id="{6787712D-9170-4E47-97CC-8D60809E2F5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2101417" y="2130150"/>
            <a:ext cx="1944000" cy="497840"/>
          </a:xfrm>
          <a:prstGeom prst="curvedUpArrow">
            <a:avLst/>
          </a:prstGeom>
          <a:solidFill>
            <a:srgbClr val="FFC000"/>
          </a:solidFill>
          <a:ln>
            <a:solidFill>
              <a:srgbClr val="30598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" name="Zahnutá šipka nahoru 25">
            <a:extLst>
              <a:ext uri="{FF2B5EF4-FFF2-40B4-BE49-F238E27FC236}">
                <a16:creationId xmlns:a16="http://schemas.microsoft.com/office/drawing/2014/main" id="{AACCD883-36DC-4042-87E9-99D055BFB8CE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8333317" y="2144405"/>
            <a:ext cx="1860974" cy="497840"/>
          </a:xfrm>
          <a:prstGeom prst="curvedUpArrow">
            <a:avLst/>
          </a:prstGeom>
          <a:solidFill>
            <a:srgbClr val="FFC000"/>
          </a:solidFill>
          <a:ln>
            <a:solidFill>
              <a:srgbClr val="30598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4" name="Zahnutá šipka nahoru 25">
            <a:extLst>
              <a:ext uri="{FF2B5EF4-FFF2-40B4-BE49-F238E27FC236}">
                <a16:creationId xmlns:a16="http://schemas.microsoft.com/office/drawing/2014/main" id="{C57154C7-2094-4F3A-89F5-3B2F0EBF8606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6213071" y="2131719"/>
            <a:ext cx="1944000" cy="497840"/>
          </a:xfrm>
          <a:prstGeom prst="curvedUpArrow">
            <a:avLst/>
          </a:prstGeom>
          <a:solidFill>
            <a:srgbClr val="FFC000"/>
          </a:solidFill>
          <a:ln>
            <a:solidFill>
              <a:srgbClr val="30598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15" name="Chart 4">
            <a:extLst>
              <a:ext uri="{FF2B5EF4-FFF2-40B4-BE49-F238E27FC236}">
                <a16:creationId xmlns:a16="http://schemas.microsoft.com/office/drawing/2014/main" id="{9128C58E-C8E1-4A9A-AA38-61B78B4C5A96}"/>
              </a:ext>
            </a:extLst>
          </p:cNvPr>
          <p:cNvGraphicFramePr/>
          <p:nvPr>
            <p:custDataLst>
              <p:tags r:id="rId6"/>
            </p:custDataLst>
          </p:nvPr>
        </p:nvGraphicFramePr>
        <p:xfrm>
          <a:off x="57147" y="2876910"/>
          <a:ext cx="12030075" cy="40337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5"/>
          </a:graphicData>
        </a:graphic>
      </p:graphicFrame>
      <p:graphicFrame>
        <p:nvGraphicFramePr>
          <p:cNvPr id="16" name="Table 11">
            <a:extLst>
              <a:ext uri="{FF2B5EF4-FFF2-40B4-BE49-F238E27FC236}">
                <a16:creationId xmlns:a16="http://schemas.microsoft.com/office/drawing/2014/main" id="{49BB5BC4-8F9B-4AC8-9A14-74B8F167DD49}"/>
              </a:ext>
            </a:extLst>
          </p:cNvPr>
          <p:cNvGraphicFramePr>
            <a:graphicFrameLocks noGrp="1"/>
          </p:cNvGraphicFramePr>
          <p:nvPr>
            <p:custDataLst>
              <p:tags r:id="rId7"/>
            </p:custDataLst>
          </p:nvPr>
        </p:nvGraphicFramePr>
        <p:xfrm>
          <a:off x="931755" y="631456"/>
          <a:ext cx="10328489" cy="2236967"/>
        </p:xfrm>
        <a:graphic>
          <a:graphicData uri="http://schemas.openxmlformats.org/drawingml/2006/table">
            <a:tbl>
              <a:tblPr/>
              <a:tblGrid>
                <a:gridCol w="781385">
                  <a:extLst>
                    <a:ext uri="{9D8B030D-6E8A-4147-A177-3AD203B41FA5}">
                      <a16:colId xmlns:a16="http://schemas.microsoft.com/office/drawing/2014/main" val="3969963914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4129480943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612071546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3307235488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1483817727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3545613051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1063795572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2069904241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2529447542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3855104309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3711905403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2188154587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1620801354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4095500680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2489013364"/>
                    </a:ext>
                  </a:extLst>
                </a:gridCol>
              </a:tblGrid>
              <a:tr h="359513"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Hotovo</a:t>
                      </a:r>
                    </a:p>
                  </a:txBody>
                  <a:tcPr marL="0" marR="0" marT="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0" marR="0" marT="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0" marR="0" marT="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0" marR="0" marT="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0" marR="0" marT="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41576240"/>
                  </a:ext>
                </a:extLst>
              </a:tr>
              <a:tr h="359513"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9. 1.–4. 2. </a:t>
                      </a:r>
                    </a:p>
                  </a:txBody>
                  <a:tcPr marL="9525" marR="9525" marT="9525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5. 2.–11. 2. </a:t>
                      </a:r>
                    </a:p>
                  </a:txBody>
                  <a:tcPr marL="9525" marR="9525" marT="9525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2. 2.–18. 2. </a:t>
                      </a:r>
                    </a:p>
                  </a:txBody>
                  <a:tcPr marL="9525" marR="9525" marT="9525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9. 2.–25. 2. </a:t>
                      </a:r>
                    </a:p>
                  </a:txBody>
                  <a:tcPr marL="9525" marR="9525" marT="9525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6. 2.–4. 3. </a:t>
                      </a:r>
                    </a:p>
                  </a:txBody>
                  <a:tcPr marL="9525" marR="9525" marT="9525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94805125"/>
                  </a:ext>
                </a:extLst>
              </a:tr>
              <a:tr h="369499"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86 případů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04 případů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85 případů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1 případů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5 případů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65827543"/>
                  </a:ext>
                </a:extLst>
              </a:tr>
              <a:tr h="389472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16.9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29.5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36.5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14.4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43060953"/>
                  </a:ext>
                </a:extLst>
              </a:tr>
              <a:tr h="379485"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2090131"/>
                  </a:ext>
                </a:extLst>
              </a:tr>
              <a:tr h="379485"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4024574"/>
                  </a:ext>
                </a:extLst>
              </a:tr>
            </a:tbl>
          </a:graphicData>
        </a:graphic>
      </p:graphicFrame>
      <p:graphicFrame>
        <p:nvGraphicFramePr>
          <p:cNvPr id="18" name="Chart 4">
            <a:extLst>
              <a:ext uri="{FF2B5EF4-FFF2-40B4-BE49-F238E27FC236}">
                <a16:creationId xmlns:a16="http://schemas.microsoft.com/office/drawing/2014/main" id="{EBC8B2C2-A9DA-424A-A1E3-05EFD0D032E5}"/>
              </a:ext>
            </a:extLst>
          </p:cNvPr>
          <p:cNvGraphicFramePr/>
          <p:nvPr>
            <p:custDataLst>
              <p:tags r:id="rId8"/>
            </p:custDataLst>
          </p:nvPr>
        </p:nvGraphicFramePr>
        <p:xfrm>
          <a:off x="209547" y="3029310"/>
          <a:ext cx="12030075" cy="40337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6"/>
          </a:graphicData>
        </a:graphic>
      </p:graphicFrame>
      <p:cxnSp>
        <p:nvCxnSpPr>
          <p:cNvPr id="19" name="Přímá spojnice se šipkou 18">
            <a:extLst>
              <a:ext uri="{FF2B5EF4-FFF2-40B4-BE49-F238E27FC236}">
                <a16:creationId xmlns:a16="http://schemas.microsoft.com/office/drawing/2014/main" id="{ECC17875-0811-4E27-980F-62B051922233}"/>
              </a:ext>
            </a:extLst>
          </p:cNvPr>
          <p:cNvCxnSpPr>
            <a:cxnSpLocks/>
          </p:cNvCxnSpPr>
          <p:nvPr>
            <p:custDataLst>
              <p:tags r:id="rId9"/>
            </p:custDataLst>
          </p:nvPr>
        </p:nvCxnSpPr>
        <p:spPr>
          <a:xfrm flipV="1">
            <a:off x="6366371" y="4668253"/>
            <a:ext cx="1189962" cy="31303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Přímá spojnice se šipkou 23">
            <a:extLst>
              <a:ext uri="{FF2B5EF4-FFF2-40B4-BE49-F238E27FC236}">
                <a16:creationId xmlns:a16="http://schemas.microsoft.com/office/drawing/2014/main" id="{A988C6E1-18DA-4E9C-8651-8B70455F4BF4}"/>
              </a:ext>
            </a:extLst>
          </p:cNvPr>
          <p:cNvCxnSpPr>
            <a:cxnSpLocks/>
          </p:cNvCxnSpPr>
          <p:nvPr>
            <p:custDataLst>
              <p:tags r:id="rId10"/>
            </p:custDataLst>
          </p:nvPr>
        </p:nvCxnSpPr>
        <p:spPr>
          <a:xfrm>
            <a:off x="7834622" y="4667149"/>
            <a:ext cx="1067803" cy="22665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Přímá spojnice se šipkou 24">
            <a:extLst>
              <a:ext uri="{FF2B5EF4-FFF2-40B4-BE49-F238E27FC236}">
                <a16:creationId xmlns:a16="http://schemas.microsoft.com/office/drawing/2014/main" id="{E7E7D759-444F-4DD9-939E-8969264015FD}"/>
              </a:ext>
            </a:extLst>
          </p:cNvPr>
          <p:cNvCxnSpPr>
            <a:cxnSpLocks/>
          </p:cNvCxnSpPr>
          <p:nvPr>
            <p:custDataLst>
              <p:tags r:id="rId11"/>
            </p:custDataLst>
          </p:nvPr>
        </p:nvCxnSpPr>
        <p:spPr>
          <a:xfrm flipV="1">
            <a:off x="9782175" y="3429000"/>
            <a:ext cx="552450" cy="155228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Přímá spojnice se šipkou 25">
            <a:extLst>
              <a:ext uri="{FF2B5EF4-FFF2-40B4-BE49-F238E27FC236}">
                <a16:creationId xmlns:a16="http://schemas.microsoft.com/office/drawing/2014/main" id="{3A96533A-F0F0-47CE-9DD8-B70A6E110EE2}"/>
              </a:ext>
            </a:extLst>
          </p:cNvPr>
          <p:cNvCxnSpPr>
            <a:cxnSpLocks/>
          </p:cNvCxnSpPr>
          <p:nvPr>
            <p:custDataLst>
              <p:tags r:id="rId12"/>
            </p:custDataLst>
          </p:nvPr>
        </p:nvCxnSpPr>
        <p:spPr>
          <a:xfrm>
            <a:off x="10839775" y="3422165"/>
            <a:ext cx="999800" cy="136891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33300920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41CFAC55-E7BE-4475-808A-CF41E61842C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381739" y="2"/>
            <a:ext cx="8102694" cy="576000"/>
          </a:xfrm>
        </p:spPr>
        <p:txBody>
          <a:bodyPr/>
          <a:lstStyle/>
          <a:p>
            <a:r>
              <a:rPr lang="cs-CZ" dirty="0"/>
              <a:t>Počty COVID-19 pozitivních na 100 000 osob v populaci sester</a:t>
            </a:r>
          </a:p>
        </p:txBody>
      </p:sp>
      <p:sp>
        <p:nvSpPr>
          <p:cNvPr id="12" name="Obdélník 11">
            <a:extLst>
              <a:ext uri="{FF2B5EF4-FFF2-40B4-BE49-F238E27FC236}">
                <a16:creationId xmlns:a16="http://schemas.microsoft.com/office/drawing/2014/main" id="{47330F7D-030D-49C8-BE37-CEFFFE48B489}"/>
              </a:ext>
            </a:extLst>
          </p:cNvPr>
          <p:cNvSpPr/>
          <p:nvPr/>
        </p:nvSpPr>
        <p:spPr>
          <a:xfrm>
            <a:off x="49877" y="1757297"/>
            <a:ext cx="1392507" cy="206210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COVID-19 pozitivních na 100 000 osob  v populaci sester (suma za hodnocený časový úsek)</a:t>
            </a:r>
          </a:p>
        </p:txBody>
      </p:sp>
      <p:graphicFrame>
        <p:nvGraphicFramePr>
          <p:cNvPr id="5" name="Graf 4">
            <a:extLst>
              <a:ext uri="{FF2B5EF4-FFF2-40B4-BE49-F238E27FC236}">
                <a16:creationId xmlns:a16="http://schemas.microsoft.com/office/drawing/2014/main" id="{AB75CD35-D60A-4842-A868-455961D2CCC6}"/>
              </a:ext>
            </a:extLst>
          </p:cNvPr>
          <p:cNvGraphicFramePr/>
          <p:nvPr>
            <p:custDataLst>
              <p:tags r:id="rId2"/>
            </p:custDataLst>
          </p:nvPr>
        </p:nvGraphicFramePr>
        <p:xfrm>
          <a:off x="1322168" y="1382699"/>
          <a:ext cx="10661843" cy="53653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1031129908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extovéPole 21">
            <a:extLst>
              <a:ext uri="{FF2B5EF4-FFF2-40B4-BE49-F238E27FC236}">
                <a16:creationId xmlns:a16="http://schemas.microsoft.com/office/drawing/2014/main" id="{95095AE4-15AA-4DA7-96E9-0973C161E52C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350241" y="87716"/>
            <a:ext cx="1134427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Vývoj počtu pozitivních případů ostatních ZP</a:t>
            </a:r>
          </a:p>
        </p:txBody>
      </p:sp>
      <p:sp>
        <p:nvSpPr>
          <p:cNvPr id="13" name="Zahnutá šipka nahoru 25">
            <a:extLst>
              <a:ext uri="{FF2B5EF4-FFF2-40B4-BE49-F238E27FC236}">
                <a16:creationId xmlns:a16="http://schemas.microsoft.com/office/drawing/2014/main" id="{B6F904B9-B88B-46C5-92EF-0EB4566DC657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4105737" y="2136199"/>
            <a:ext cx="1944000" cy="497840"/>
          </a:xfrm>
          <a:prstGeom prst="curvedUpArrow">
            <a:avLst/>
          </a:prstGeom>
          <a:solidFill>
            <a:srgbClr val="FFC000"/>
          </a:solidFill>
          <a:ln>
            <a:solidFill>
              <a:srgbClr val="30598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9" name="Zahnutá šipka nahoru 25">
            <a:extLst>
              <a:ext uri="{FF2B5EF4-FFF2-40B4-BE49-F238E27FC236}">
                <a16:creationId xmlns:a16="http://schemas.microsoft.com/office/drawing/2014/main" id="{6787712D-9170-4E47-97CC-8D60809E2F5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2101417" y="2130150"/>
            <a:ext cx="1944000" cy="497840"/>
          </a:xfrm>
          <a:prstGeom prst="curvedUpArrow">
            <a:avLst/>
          </a:prstGeom>
          <a:solidFill>
            <a:srgbClr val="FFC000"/>
          </a:solidFill>
          <a:ln>
            <a:solidFill>
              <a:srgbClr val="30598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" name="Zahnutá šipka nahoru 25">
            <a:extLst>
              <a:ext uri="{FF2B5EF4-FFF2-40B4-BE49-F238E27FC236}">
                <a16:creationId xmlns:a16="http://schemas.microsoft.com/office/drawing/2014/main" id="{AACCD883-36DC-4042-87E9-99D055BFB8CE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8333317" y="2144405"/>
            <a:ext cx="1860974" cy="497840"/>
          </a:xfrm>
          <a:prstGeom prst="curvedUpArrow">
            <a:avLst/>
          </a:prstGeom>
          <a:solidFill>
            <a:srgbClr val="FFC000"/>
          </a:solidFill>
          <a:ln>
            <a:solidFill>
              <a:srgbClr val="30598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4" name="Zahnutá šipka nahoru 25">
            <a:extLst>
              <a:ext uri="{FF2B5EF4-FFF2-40B4-BE49-F238E27FC236}">
                <a16:creationId xmlns:a16="http://schemas.microsoft.com/office/drawing/2014/main" id="{C57154C7-2094-4F3A-89F5-3B2F0EBF8606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6213071" y="2131719"/>
            <a:ext cx="1944000" cy="497840"/>
          </a:xfrm>
          <a:prstGeom prst="curvedUpArrow">
            <a:avLst/>
          </a:prstGeom>
          <a:solidFill>
            <a:srgbClr val="FFC000"/>
          </a:solidFill>
          <a:ln>
            <a:solidFill>
              <a:srgbClr val="30598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15" name="Chart 4">
            <a:extLst>
              <a:ext uri="{FF2B5EF4-FFF2-40B4-BE49-F238E27FC236}">
                <a16:creationId xmlns:a16="http://schemas.microsoft.com/office/drawing/2014/main" id="{9128C58E-C8E1-4A9A-AA38-61B78B4C5A96}"/>
              </a:ext>
            </a:extLst>
          </p:cNvPr>
          <p:cNvGraphicFramePr/>
          <p:nvPr>
            <p:custDataLst>
              <p:tags r:id="rId6"/>
            </p:custDataLst>
          </p:nvPr>
        </p:nvGraphicFramePr>
        <p:xfrm>
          <a:off x="57147" y="2876910"/>
          <a:ext cx="12030075" cy="40337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4"/>
          </a:graphicData>
        </a:graphic>
      </p:graphicFrame>
      <p:graphicFrame>
        <p:nvGraphicFramePr>
          <p:cNvPr id="16" name="Table 11">
            <a:extLst>
              <a:ext uri="{FF2B5EF4-FFF2-40B4-BE49-F238E27FC236}">
                <a16:creationId xmlns:a16="http://schemas.microsoft.com/office/drawing/2014/main" id="{49BB5BC4-8F9B-4AC8-9A14-74B8F167DD49}"/>
              </a:ext>
            </a:extLst>
          </p:cNvPr>
          <p:cNvGraphicFramePr>
            <a:graphicFrameLocks noGrp="1"/>
          </p:cNvGraphicFramePr>
          <p:nvPr>
            <p:custDataLst>
              <p:tags r:id="rId7"/>
            </p:custDataLst>
          </p:nvPr>
        </p:nvGraphicFramePr>
        <p:xfrm>
          <a:off x="931755" y="631456"/>
          <a:ext cx="10328489" cy="2236967"/>
        </p:xfrm>
        <a:graphic>
          <a:graphicData uri="http://schemas.openxmlformats.org/drawingml/2006/table">
            <a:tbl>
              <a:tblPr/>
              <a:tblGrid>
                <a:gridCol w="781385">
                  <a:extLst>
                    <a:ext uri="{9D8B030D-6E8A-4147-A177-3AD203B41FA5}">
                      <a16:colId xmlns:a16="http://schemas.microsoft.com/office/drawing/2014/main" val="3969963914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4129480943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612071546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3307235488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1483817727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3545613051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1063795572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2069904241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2529447542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3855104309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3711905403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2188154587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1620801354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4095500680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2489013364"/>
                    </a:ext>
                  </a:extLst>
                </a:gridCol>
              </a:tblGrid>
              <a:tr h="359513"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9525" marR="9525" marT="9525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9525" marR="9525" marT="9525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9525" marR="9525" marT="9525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9525" marR="9525" marT="9525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9525" marR="9525" marT="9525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41576240"/>
                  </a:ext>
                </a:extLst>
              </a:tr>
              <a:tr h="359513"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9. 1.–4. 2. </a:t>
                      </a:r>
                    </a:p>
                  </a:txBody>
                  <a:tcPr marL="9525" marR="9525" marT="9525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5. 2.–11. 2. </a:t>
                      </a:r>
                    </a:p>
                  </a:txBody>
                  <a:tcPr marL="9525" marR="9525" marT="9525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2. 2.–18. 2. </a:t>
                      </a:r>
                    </a:p>
                  </a:txBody>
                  <a:tcPr marL="9525" marR="9525" marT="9525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9. 2.–25. 2. </a:t>
                      </a:r>
                    </a:p>
                  </a:txBody>
                  <a:tcPr marL="9525" marR="9525" marT="9525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6. 2.–4. 3. </a:t>
                      </a:r>
                    </a:p>
                  </a:txBody>
                  <a:tcPr marL="9525" marR="9525" marT="9525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94805125"/>
                  </a:ext>
                </a:extLst>
              </a:tr>
              <a:tr h="369499"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35 případů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65 případů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7 případů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9 případů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1 případů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65827543"/>
                  </a:ext>
                </a:extLst>
              </a:tr>
              <a:tr h="389472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16.1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35.1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32.9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17.6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43060953"/>
                  </a:ext>
                </a:extLst>
              </a:tr>
              <a:tr h="379485"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2090131"/>
                  </a:ext>
                </a:extLst>
              </a:tr>
              <a:tr h="379485"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4024574"/>
                  </a:ext>
                </a:extLst>
              </a:tr>
            </a:tbl>
          </a:graphicData>
        </a:graphic>
      </p:graphicFrame>
      <p:cxnSp>
        <p:nvCxnSpPr>
          <p:cNvPr id="19" name="Přímá spojnice se šipkou 18">
            <a:extLst>
              <a:ext uri="{FF2B5EF4-FFF2-40B4-BE49-F238E27FC236}">
                <a16:creationId xmlns:a16="http://schemas.microsoft.com/office/drawing/2014/main" id="{411E6737-3F89-4F9D-8286-3EE926B2F3F0}"/>
              </a:ext>
            </a:extLst>
          </p:cNvPr>
          <p:cNvCxnSpPr>
            <a:cxnSpLocks/>
          </p:cNvCxnSpPr>
          <p:nvPr>
            <p:custDataLst>
              <p:tags r:id="rId8"/>
            </p:custDataLst>
          </p:nvPr>
        </p:nvCxnSpPr>
        <p:spPr>
          <a:xfrm flipV="1">
            <a:off x="6128246" y="4668253"/>
            <a:ext cx="1189962" cy="31303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Přímá spojnice se šipkou 22">
            <a:extLst>
              <a:ext uri="{FF2B5EF4-FFF2-40B4-BE49-F238E27FC236}">
                <a16:creationId xmlns:a16="http://schemas.microsoft.com/office/drawing/2014/main" id="{3027CD44-79F1-460F-8AD7-897C8E8D24B8}"/>
              </a:ext>
            </a:extLst>
          </p:cNvPr>
          <p:cNvCxnSpPr>
            <a:cxnSpLocks/>
          </p:cNvCxnSpPr>
          <p:nvPr>
            <p:custDataLst>
              <p:tags r:id="rId9"/>
            </p:custDataLst>
          </p:nvPr>
        </p:nvCxnSpPr>
        <p:spPr>
          <a:xfrm>
            <a:off x="7596497" y="4667149"/>
            <a:ext cx="1067803" cy="22665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Přímá spojnice se šipkou 23">
            <a:extLst>
              <a:ext uri="{FF2B5EF4-FFF2-40B4-BE49-F238E27FC236}">
                <a16:creationId xmlns:a16="http://schemas.microsoft.com/office/drawing/2014/main" id="{D84430EA-D7E7-4015-9F90-F9679D9DECEF}"/>
              </a:ext>
            </a:extLst>
          </p:cNvPr>
          <p:cNvCxnSpPr>
            <a:cxnSpLocks/>
          </p:cNvCxnSpPr>
          <p:nvPr>
            <p:custDataLst>
              <p:tags r:id="rId10"/>
            </p:custDataLst>
          </p:nvPr>
        </p:nvCxnSpPr>
        <p:spPr>
          <a:xfrm flipV="1">
            <a:off x="9544050" y="3429000"/>
            <a:ext cx="552450" cy="155228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Přímá spojnice se šipkou 24">
            <a:extLst>
              <a:ext uri="{FF2B5EF4-FFF2-40B4-BE49-F238E27FC236}">
                <a16:creationId xmlns:a16="http://schemas.microsoft.com/office/drawing/2014/main" id="{DC0594E2-2EDD-4203-87D6-F83304AEE80B}"/>
              </a:ext>
            </a:extLst>
          </p:cNvPr>
          <p:cNvCxnSpPr>
            <a:cxnSpLocks/>
          </p:cNvCxnSpPr>
          <p:nvPr>
            <p:custDataLst>
              <p:tags r:id="rId11"/>
            </p:custDataLst>
          </p:nvPr>
        </p:nvCxnSpPr>
        <p:spPr>
          <a:xfrm>
            <a:off x="10877875" y="3422165"/>
            <a:ext cx="999800" cy="136891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71705393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41CFAC55-E7BE-4475-808A-CF41E61842C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381738" y="2"/>
            <a:ext cx="8647961" cy="576000"/>
          </a:xfrm>
        </p:spPr>
        <p:txBody>
          <a:bodyPr/>
          <a:lstStyle/>
          <a:p>
            <a:r>
              <a:rPr lang="cs-CZ" dirty="0"/>
              <a:t>Počty COVID-19 pozitivních na 100 000 osob v populaci ostatních ZP</a:t>
            </a:r>
          </a:p>
        </p:txBody>
      </p:sp>
      <p:sp>
        <p:nvSpPr>
          <p:cNvPr id="12" name="Obdélník 11">
            <a:extLst>
              <a:ext uri="{FF2B5EF4-FFF2-40B4-BE49-F238E27FC236}">
                <a16:creationId xmlns:a16="http://schemas.microsoft.com/office/drawing/2014/main" id="{47330F7D-030D-49C8-BE37-CEFFFE48B489}"/>
              </a:ext>
            </a:extLst>
          </p:cNvPr>
          <p:cNvSpPr/>
          <p:nvPr/>
        </p:nvSpPr>
        <p:spPr>
          <a:xfrm>
            <a:off x="137649" y="1757297"/>
            <a:ext cx="1254858" cy="25545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COVID-19 pozitivních na 100 000 osob  v populaci ostatních ZP (suma za hodnocený časový úsek)</a:t>
            </a:r>
          </a:p>
        </p:txBody>
      </p:sp>
      <p:graphicFrame>
        <p:nvGraphicFramePr>
          <p:cNvPr id="5" name="Graf 4">
            <a:extLst>
              <a:ext uri="{FF2B5EF4-FFF2-40B4-BE49-F238E27FC236}">
                <a16:creationId xmlns:a16="http://schemas.microsoft.com/office/drawing/2014/main" id="{48FC8E2C-EA85-4B60-9865-EAD22E25BEC9}"/>
              </a:ext>
            </a:extLst>
          </p:cNvPr>
          <p:cNvGraphicFramePr/>
          <p:nvPr>
            <p:custDataLst>
              <p:tags r:id="rId2"/>
            </p:custDataLst>
          </p:nvPr>
        </p:nvGraphicFramePr>
        <p:xfrm>
          <a:off x="1322168" y="1382699"/>
          <a:ext cx="10661843" cy="53653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293923915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7785" y="0"/>
            <a:ext cx="7434501" cy="576000"/>
          </a:xfrm>
        </p:spPr>
        <p:txBody>
          <a:bodyPr/>
          <a:lstStyle/>
          <a:p>
            <a:r>
              <a:rPr lang="cs-CZ" dirty="0"/>
              <a:t>Očkování zdravotnických pracovníků </a:t>
            </a:r>
          </a:p>
        </p:txBody>
      </p:sp>
      <p:sp>
        <p:nvSpPr>
          <p:cNvPr id="25" name="Obdélník 24">
            <a:extLst>
              <a:ext uri="{FF2B5EF4-FFF2-40B4-BE49-F238E27FC236}">
                <a16:creationId xmlns:a16="http://schemas.microsoft.com/office/drawing/2014/main" id="{7B7EAFED-3EEF-49DD-829E-67841604FA64}"/>
              </a:ext>
            </a:extLst>
          </p:cNvPr>
          <p:cNvSpPr/>
          <p:nvPr/>
        </p:nvSpPr>
        <p:spPr>
          <a:xfrm>
            <a:off x="295147" y="695624"/>
            <a:ext cx="11601706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U aktuálně aktivně působících zdravotnických pracovníků má alespoň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. dávku vakcinace </a:t>
            </a:r>
            <a:r>
              <a:rPr kumimoji="0" lang="cs-CZ" sz="2800" b="1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88 % lékařů</a:t>
            </a:r>
            <a:r>
              <a:rPr kumimoji="0" lang="cs-CZ" sz="2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, </a:t>
            </a:r>
            <a:r>
              <a:rPr kumimoji="0" lang="cs-CZ" sz="2800" b="1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84 % sesterských povolání</a:t>
            </a:r>
            <a:r>
              <a:rPr kumimoji="0" lang="cs-CZ" sz="2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 </a:t>
            </a:r>
            <a:r>
              <a:rPr kumimoji="0" lang="cs-CZ" sz="2800" b="1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81 % ostatních zdravotnických povolání</a:t>
            </a:r>
            <a:r>
              <a:rPr kumimoji="0" lang="cs-CZ" sz="2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 </a:t>
            </a:r>
          </a:p>
        </p:txBody>
      </p:sp>
      <p:sp>
        <p:nvSpPr>
          <p:cNvPr id="9" name="Šipka dolů 8"/>
          <p:cNvSpPr/>
          <p:nvPr/>
        </p:nvSpPr>
        <p:spPr>
          <a:xfrm>
            <a:off x="5513717" y="2355067"/>
            <a:ext cx="1164566" cy="483109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0" name="Obdélník 9">
            <a:extLst>
              <a:ext uri="{FF2B5EF4-FFF2-40B4-BE49-F238E27FC236}">
                <a16:creationId xmlns:a16="http://schemas.microsoft.com/office/drawing/2014/main" id="{7B7EAFED-3EEF-49DD-829E-67841604FA64}"/>
              </a:ext>
            </a:extLst>
          </p:cNvPr>
          <p:cNvSpPr/>
          <p:nvPr/>
        </p:nvSpPr>
        <p:spPr>
          <a:xfrm>
            <a:off x="257785" y="3112624"/>
            <a:ext cx="11767960" cy="267765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oočkovanost ZP během podzimu 2021 vzrostla, a to ve všech profesních skupinách. Celková proočkovanost ZP dosahuje 83,8 % (jen ZP skutečně aktivní ve zdravotnictví). Roste i proočkovanost posilující dávkou. Z pracovníků, kteří na ni mají (časově) nárok, ji dosud absolvovalo 88,5 % lékařů, 79,2 % sester a 75,3 % ostatních NLZP (celkem 79,9 % všech aktivních ZP s nárokem na booster). </a:t>
            </a:r>
          </a:p>
        </p:txBody>
      </p:sp>
      <p:sp>
        <p:nvSpPr>
          <p:cNvPr id="11" name="Šipka dolů 10"/>
          <p:cNvSpPr/>
          <p:nvPr/>
        </p:nvSpPr>
        <p:spPr>
          <a:xfrm>
            <a:off x="5513717" y="6221167"/>
            <a:ext cx="1164566" cy="483109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82333325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extovéPole 21">
            <a:extLst>
              <a:ext uri="{FF2B5EF4-FFF2-40B4-BE49-F238E27FC236}">
                <a16:creationId xmlns:a16="http://schemas.microsoft.com/office/drawing/2014/main" id="{95095AE4-15AA-4DA7-96E9-0973C161E52C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350241" y="87716"/>
            <a:ext cx="1134427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Vývoj počtu pozitivních případů ZP CELKEM</a:t>
            </a:r>
          </a:p>
        </p:txBody>
      </p:sp>
      <p:sp>
        <p:nvSpPr>
          <p:cNvPr id="13" name="Zahnutá šipka nahoru 25">
            <a:extLst>
              <a:ext uri="{FF2B5EF4-FFF2-40B4-BE49-F238E27FC236}">
                <a16:creationId xmlns:a16="http://schemas.microsoft.com/office/drawing/2014/main" id="{B6F904B9-B88B-46C5-92EF-0EB4566DC657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4105737" y="2136199"/>
            <a:ext cx="1944000" cy="497840"/>
          </a:xfrm>
          <a:prstGeom prst="curvedUpArrow">
            <a:avLst/>
          </a:prstGeom>
          <a:solidFill>
            <a:srgbClr val="FFC000"/>
          </a:solidFill>
          <a:ln>
            <a:solidFill>
              <a:srgbClr val="30598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9" name="Zahnutá šipka nahoru 25">
            <a:extLst>
              <a:ext uri="{FF2B5EF4-FFF2-40B4-BE49-F238E27FC236}">
                <a16:creationId xmlns:a16="http://schemas.microsoft.com/office/drawing/2014/main" id="{6787712D-9170-4E47-97CC-8D60809E2F5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2101417" y="2130150"/>
            <a:ext cx="1944000" cy="497840"/>
          </a:xfrm>
          <a:prstGeom prst="curvedUpArrow">
            <a:avLst/>
          </a:prstGeom>
          <a:solidFill>
            <a:srgbClr val="FFC000"/>
          </a:solidFill>
          <a:ln>
            <a:solidFill>
              <a:srgbClr val="30598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" name="Zahnutá šipka nahoru 25">
            <a:extLst>
              <a:ext uri="{FF2B5EF4-FFF2-40B4-BE49-F238E27FC236}">
                <a16:creationId xmlns:a16="http://schemas.microsoft.com/office/drawing/2014/main" id="{AACCD883-36DC-4042-87E9-99D055BFB8CE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8333317" y="2144405"/>
            <a:ext cx="1860974" cy="497840"/>
          </a:xfrm>
          <a:prstGeom prst="curvedUpArrow">
            <a:avLst/>
          </a:prstGeom>
          <a:solidFill>
            <a:srgbClr val="FFC000"/>
          </a:solidFill>
          <a:ln>
            <a:solidFill>
              <a:srgbClr val="30598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4" name="Zahnutá šipka nahoru 25">
            <a:extLst>
              <a:ext uri="{FF2B5EF4-FFF2-40B4-BE49-F238E27FC236}">
                <a16:creationId xmlns:a16="http://schemas.microsoft.com/office/drawing/2014/main" id="{C57154C7-2094-4F3A-89F5-3B2F0EBF8606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6213071" y="2131719"/>
            <a:ext cx="1944000" cy="497840"/>
          </a:xfrm>
          <a:prstGeom prst="curvedUpArrow">
            <a:avLst/>
          </a:prstGeom>
          <a:solidFill>
            <a:srgbClr val="FFC000"/>
          </a:solidFill>
          <a:ln>
            <a:solidFill>
              <a:srgbClr val="30598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15" name="Chart 4">
            <a:extLst>
              <a:ext uri="{FF2B5EF4-FFF2-40B4-BE49-F238E27FC236}">
                <a16:creationId xmlns:a16="http://schemas.microsoft.com/office/drawing/2014/main" id="{53E2D82D-108B-4D73-94F6-FBD731C2D303}"/>
              </a:ext>
            </a:extLst>
          </p:cNvPr>
          <p:cNvGraphicFramePr/>
          <p:nvPr>
            <p:custDataLst>
              <p:tags r:id="rId6"/>
            </p:custDataLst>
          </p:nvPr>
        </p:nvGraphicFramePr>
        <p:xfrm>
          <a:off x="57147" y="2876910"/>
          <a:ext cx="12030075" cy="40337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4"/>
          </a:graphicData>
        </a:graphic>
      </p:graphicFrame>
      <p:graphicFrame>
        <p:nvGraphicFramePr>
          <p:cNvPr id="16" name="Table 11">
            <a:extLst>
              <a:ext uri="{FF2B5EF4-FFF2-40B4-BE49-F238E27FC236}">
                <a16:creationId xmlns:a16="http://schemas.microsoft.com/office/drawing/2014/main" id="{F11535AB-AF88-4B35-89FD-7232D9821B31}"/>
              </a:ext>
            </a:extLst>
          </p:cNvPr>
          <p:cNvGraphicFramePr>
            <a:graphicFrameLocks noGrp="1"/>
          </p:cNvGraphicFramePr>
          <p:nvPr>
            <p:custDataLst>
              <p:tags r:id="rId7"/>
            </p:custDataLst>
          </p:nvPr>
        </p:nvGraphicFramePr>
        <p:xfrm>
          <a:off x="931755" y="631456"/>
          <a:ext cx="10328489" cy="2236967"/>
        </p:xfrm>
        <a:graphic>
          <a:graphicData uri="http://schemas.openxmlformats.org/drawingml/2006/table">
            <a:tbl>
              <a:tblPr/>
              <a:tblGrid>
                <a:gridCol w="781385">
                  <a:extLst>
                    <a:ext uri="{9D8B030D-6E8A-4147-A177-3AD203B41FA5}">
                      <a16:colId xmlns:a16="http://schemas.microsoft.com/office/drawing/2014/main" val="3969963914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4129480943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612071546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3307235488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1483817727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3545613051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1063795572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2069904241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2529447542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3855104309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3711905403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2188154587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1620801354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4095500680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2489013364"/>
                    </a:ext>
                  </a:extLst>
                </a:gridCol>
              </a:tblGrid>
              <a:tr h="359513"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9525" marR="9525" marT="9525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9525" marR="9525" marT="9525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9525" marR="9525" marT="9525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9525" marR="9525" marT="9525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9525" marR="9525" marT="9525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41576240"/>
                  </a:ext>
                </a:extLst>
              </a:tr>
              <a:tr h="359513"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9. 1.–4. 2. </a:t>
                      </a:r>
                    </a:p>
                  </a:txBody>
                  <a:tcPr marL="9525" marR="9525" marT="9525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5. 2.–11. 2. </a:t>
                      </a:r>
                    </a:p>
                  </a:txBody>
                  <a:tcPr marL="9525" marR="9525" marT="9525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2. 2.–18. 2. </a:t>
                      </a:r>
                    </a:p>
                  </a:txBody>
                  <a:tcPr marL="9525" marR="9525" marT="9525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9. 2.–25. 2. </a:t>
                      </a:r>
                    </a:p>
                  </a:txBody>
                  <a:tcPr marL="9525" marR="9525" marT="9525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6. 2.–4. 3. </a:t>
                      </a:r>
                    </a:p>
                  </a:txBody>
                  <a:tcPr marL="9525" marR="9525" marT="9525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94805125"/>
                  </a:ext>
                </a:extLst>
              </a:tr>
              <a:tr h="369499"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35 případů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65 případů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7 případů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9 případů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1 případů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65827543"/>
                  </a:ext>
                </a:extLst>
              </a:tr>
              <a:tr h="389472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16.1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35.1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32.9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17.6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43060953"/>
                  </a:ext>
                </a:extLst>
              </a:tr>
              <a:tr h="379485"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2090131"/>
                  </a:ext>
                </a:extLst>
              </a:tr>
              <a:tr h="379485"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4024574"/>
                  </a:ext>
                </a:extLst>
              </a:tr>
            </a:tbl>
          </a:graphicData>
        </a:graphic>
      </p:graphicFrame>
      <p:cxnSp>
        <p:nvCxnSpPr>
          <p:cNvPr id="18" name="Přímá spojnice se šipkou 17">
            <a:extLst>
              <a:ext uri="{FF2B5EF4-FFF2-40B4-BE49-F238E27FC236}">
                <a16:creationId xmlns:a16="http://schemas.microsoft.com/office/drawing/2014/main" id="{37947A85-B909-4293-8435-1101B95DF981}"/>
              </a:ext>
            </a:extLst>
          </p:cNvPr>
          <p:cNvCxnSpPr>
            <a:cxnSpLocks/>
          </p:cNvCxnSpPr>
          <p:nvPr>
            <p:custDataLst>
              <p:tags r:id="rId8"/>
            </p:custDataLst>
          </p:nvPr>
        </p:nvCxnSpPr>
        <p:spPr>
          <a:xfrm flipV="1">
            <a:off x="6156821" y="4668253"/>
            <a:ext cx="1189962" cy="31303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Přímá spojnice se šipkou 18">
            <a:extLst>
              <a:ext uri="{FF2B5EF4-FFF2-40B4-BE49-F238E27FC236}">
                <a16:creationId xmlns:a16="http://schemas.microsoft.com/office/drawing/2014/main" id="{2A8F4540-0796-450E-A506-11E39D7DEC37}"/>
              </a:ext>
            </a:extLst>
          </p:cNvPr>
          <p:cNvCxnSpPr>
            <a:cxnSpLocks/>
          </p:cNvCxnSpPr>
          <p:nvPr>
            <p:custDataLst>
              <p:tags r:id="rId9"/>
            </p:custDataLst>
          </p:nvPr>
        </p:nvCxnSpPr>
        <p:spPr>
          <a:xfrm>
            <a:off x="7625072" y="4667149"/>
            <a:ext cx="1067803" cy="22665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Přímá spojnice se šipkou 23">
            <a:extLst>
              <a:ext uri="{FF2B5EF4-FFF2-40B4-BE49-F238E27FC236}">
                <a16:creationId xmlns:a16="http://schemas.microsoft.com/office/drawing/2014/main" id="{970296B4-F738-4F44-812D-5D04CA302F97}"/>
              </a:ext>
            </a:extLst>
          </p:cNvPr>
          <p:cNvCxnSpPr>
            <a:cxnSpLocks/>
          </p:cNvCxnSpPr>
          <p:nvPr>
            <p:custDataLst>
              <p:tags r:id="rId10"/>
            </p:custDataLst>
          </p:nvPr>
        </p:nvCxnSpPr>
        <p:spPr>
          <a:xfrm flipV="1">
            <a:off x="9572625" y="3429000"/>
            <a:ext cx="552450" cy="155228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Přímá spojnice se šipkou 24">
            <a:extLst>
              <a:ext uri="{FF2B5EF4-FFF2-40B4-BE49-F238E27FC236}">
                <a16:creationId xmlns:a16="http://schemas.microsoft.com/office/drawing/2014/main" id="{E6BAE0A4-0629-470B-85FB-4C597B305BC6}"/>
              </a:ext>
            </a:extLst>
          </p:cNvPr>
          <p:cNvCxnSpPr>
            <a:cxnSpLocks/>
          </p:cNvCxnSpPr>
          <p:nvPr>
            <p:custDataLst>
              <p:tags r:id="rId11"/>
            </p:custDataLst>
          </p:nvPr>
        </p:nvCxnSpPr>
        <p:spPr>
          <a:xfrm>
            <a:off x="10706425" y="3422165"/>
            <a:ext cx="999800" cy="136891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52759757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abulka 4">
            <a:extLst>
              <a:ext uri="{FF2B5EF4-FFF2-40B4-BE49-F238E27FC236}">
                <a16:creationId xmlns:a16="http://schemas.microsoft.com/office/drawing/2014/main" id="{C5C3C8C1-C37B-4CE5-9516-DE7B6403E433}"/>
              </a:ext>
            </a:extLst>
          </p:cNvPr>
          <p:cNvGraphicFramePr>
            <a:graphicFrameLocks noGrp="1"/>
          </p:cNvGraphicFramePr>
          <p:nvPr/>
        </p:nvGraphicFramePr>
        <p:xfrm>
          <a:off x="2342437" y="2260664"/>
          <a:ext cx="9276168" cy="3621345"/>
        </p:xfrm>
        <a:graphic>
          <a:graphicData uri="http://schemas.openxmlformats.org/drawingml/2006/table">
            <a:tbl>
              <a:tblPr/>
              <a:tblGrid>
                <a:gridCol w="773014">
                  <a:extLst>
                    <a:ext uri="{9D8B030D-6E8A-4147-A177-3AD203B41FA5}">
                      <a16:colId xmlns:a16="http://schemas.microsoft.com/office/drawing/2014/main" val="2366151677"/>
                    </a:ext>
                  </a:extLst>
                </a:gridCol>
                <a:gridCol w="773014">
                  <a:extLst>
                    <a:ext uri="{9D8B030D-6E8A-4147-A177-3AD203B41FA5}">
                      <a16:colId xmlns:a16="http://schemas.microsoft.com/office/drawing/2014/main" val="3976564757"/>
                    </a:ext>
                  </a:extLst>
                </a:gridCol>
                <a:gridCol w="773014">
                  <a:extLst>
                    <a:ext uri="{9D8B030D-6E8A-4147-A177-3AD203B41FA5}">
                      <a16:colId xmlns:a16="http://schemas.microsoft.com/office/drawing/2014/main" val="3887483204"/>
                    </a:ext>
                  </a:extLst>
                </a:gridCol>
                <a:gridCol w="773014">
                  <a:extLst>
                    <a:ext uri="{9D8B030D-6E8A-4147-A177-3AD203B41FA5}">
                      <a16:colId xmlns:a16="http://schemas.microsoft.com/office/drawing/2014/main" val="2407503669"/>
                    </a:ext>
                  </a:extLst>
                </a:gridCol>
                <a:gridCol w="773014">
                  <a:extLst>
                    <a:ext uri="{9D8B030D-6E8A-4147-A177-3AD203B41FA5}">
                      <a16:colId xmlns:a16="http://schemas.microsoft.com/office/drawing/2014/main" val="901972980"/>
                    </a:ext>
                  </a:extLst>
                </a:gridCol>
                <a:gridCol w="773014">
                  <a:extLst>
                    <a:ext uri="{9D8B030D-6E8A-4147-A177-3AD203B41FA5}">
                      <a16:colId xmlns:a16="http://schemas.microsoft.com/office/drawing/2014/main" val="3996946892"/>
                    </a:ext>
                  </a:extLst>
                </a:gridCol>
                <a:gridCol w="773014">
                  <a:extLst>
                    <a:ext uri="{9D8B030D-6E8A-4147-A177-3AD203B41FA5}">
                      <a16:colId xmlns:a16="http://schemas.microsoft.com/office/drawing/2014/main" val="3011279116"/>
                    </a:ext>
                  </a:extLst>
                </a:gridCol>
                <a:gridCol w="773014">
                  <a:extLst>
                    <a:ext uri="{9D8B030D-6E8A-4147-A177-3AD203B41FA5}">
                      <a16:colId xmlns:a16="http://schemas.microsoft.com/office/drawing/2014/main" val="1319007282"/>
                    </a:ext>
                  </a:extLst>
                </a:gridCol>
                <a:gridCol w="773014">
                  <a:extLst>
                    <a:ext uri="{9D8B030D-6E8A-4147-A177-3AD203B41FA5}">
                      <a16:colId xmlns:a16="http://schemas.microsoft.com/office/drawing/2014/main" val="2837287330"/>
                    </a:ext>
                  </a:extLst>
                </a:gridCol>
                <a:gridCol w="773014">
                  <a:extLst>
                    <a:ext uri="{9D8B030D-6E8A-4147-A177-3AD203B41FA5}">
                      <a16:colId xmlns:a16="http://schemas.microsoft.com/office/drawing/2014/main" val="3214430944"/>
                    </a:ext>
                  </a:extLst>
                </a:gridCol>
                <a:gridCol w="773014">
                  <a:extLst>
                    <a:ext uri="{9D8B030D-6E8A-4147-A177-3AD203B41FA5}">
                      <a16:colId xmlns:a16="http://schemas.microsoft.com/office/drawing/2014/main" val="325824592"/>
                    </a:ext>
                  </a:extLst>
                </a:gridCol>
                <a:gridCol w="773014">
                  <a:extLst>
                    <a:ext uri="{9D8B030D-6E8A-4147-A177-3AD203B41FA5}">
                      <a16:colId xmlns:a16="http://schemas.microsoft.com/office/drawing/2014/main" val="771666926"/>
                    </a:ext>
                  </a:extLst>
                </a:gridCol>
              </a:tblGrid>
              <a:tr h="241423"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7D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868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888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828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85717471"/>
                  </a:ext>
                </a:extLst>
              </a:tr>
              <a:tr h="241423"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CD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2C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A1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9B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62932984"/>
                  </a:ext>
                </a:extLst>
              </a:tr>
              <a:tr h="241423"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8D8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B2B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B1B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A8A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68818220"/>
                  </a:ext>
                </a:extLst>
              </a:tr>
              <a:tr h="241423"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747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79557013"/>
                  </a:ext>
                </a:extLst>
              </a:tr>
              <a:tr h="241423"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7D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4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1E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3E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00289594"/>
                  </a:ext>
                </a:extLst>
              </a:tr>
              <a:tr h="241423"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8D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DD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8E9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6B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54429431"/>
                  </a:ext>
                </a:extLst>
              </a:tr>
              <a:tr h="241423"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8C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ABA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EC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6B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42994380"/>
                  </a:ext>
                </a:extLst>
              </a:tr>
              <a:tr h="241423"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A1A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B9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EC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A9A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6210590"/>
                  </a:ext>
                </a:extLst>
              </a:tr>
              <a:tr h="241423"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27583496"/>
                  </a:ext>
                </a:extLst>
              </a:tr>
              <a:tr h="241423"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A1A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878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7A7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9999140"/>
                  </a:ext>
                </a:extLst>
              </a:tr>
              <a:tr h="241423"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EA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29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19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09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07238769"/>
                  </a:ext>
                </a:extLst>
              </a:tr>
              <a:tr h="241423"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5B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A9A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AEB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AAA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83316186"/>
                  </a:ext>
                </a:extLst>
              </a:tr>
              <a:tr h="241423"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99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5B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8E9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FA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7842094"/>
                  </a:ext>
                </a:extLst>
              </a:tr>
              <a:tr h="241423"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AFB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5B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AEB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B0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85806291"/>
                  </a:ext>
                </a:extLst>
              </a:tr>
              <a:tr h="241423">
                <a:tc>
                  <a:txBody>
                    <a:bodyPr/>
                    <a:lstStyle/>
                    <a:p>
                      <a:pPr algn="ctr" fontAlgn="ctr"/>
                      <a:endParaRPr lang="cs-CZ" sz="14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A7A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A7A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A1A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A3A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6564550"/>
                  </a:ext>
                </a:extLst>
              </a:tr>
            </a:tbl>
          </a:graphicData>
        </a:graphic>
      </p:graphicFrame>
      <p:sp>
        <p:nvSpPr>
          <p:cNvPr id="10" name="TextovéPole 5">
            <a:extLst>
              <a:ext uri="{FF2B5EF4-FFF2-40B4-BE49-F238E27FC236}">
                <a16:creationId xmlns:a16="http://schemas.microsoft.com/office/drawing/2014/main" id="{E3A22678-EE0A-4F0C-80A0-91CC52509AD0}"/>
              </a:ext>
            </a:extLst>
          </p:cNvPr>
          <p:cNvSpPr txBox="1"/>
          <p:nvPr/>
        </p:nvSpPr>
        <p:spPr>
          <a:xfrm>
            <a:off x="2990850" y="6567385"/>
            <a:ext cx="636270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100" dirty="0">
                <a:latin typeface="Calibri" panose="020F0502020204030204" pitchFamily="34" charset="0"/>
                <a:cs typeface="Calibri" panose="020F0502020204030204" pitchFamily="34" charset="0"/>
              </a:rPr>
              <a:t>Zdroj: ISIN – Informační systém infekční nemocí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AE238D39-7489-4465-AC4A-2E3C5F72AF9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2145" y="2"/>
            <a:ext cx="7502895" cy="576000"/>
          </a:xfrm>
        </p:spPr>
        <p:txBody>
          <a:bodyPr/>
          <a:lstStyle/>
          <a:p>
            <a:r>
              <a:rPr lang="cs-CZ" dirty="0"/>
              <a:t>Počty pracovníků ve zdravotnictví s nákazou COVID-19</a:t>
            </a:r>
          </a:p>
        </p:txBody>
      </p:sp>
      <p:sp>
        <p:nvSpPr>
          <p:cNvPr id="15" name="Obdélník 14">
            <a:extLst>
              <a:ext uri="{FF2B5EF4-FFF2-40B4-BE49-F238E27FC236}">
                <a16:creationId xmlns:a16="http://schemas.microsoft.com/office/drawing/2014/main" id="{1D66D047-1A81-43A9-AEC0-D36353A2C52D}"/>
              </a:ext>
            </a:extLst>
          </p:cNvPr>
          <p:cNvSpPr/>
          <p:nvPr/>
        </p:nvSpPr>
        <p:spPr>
          <a:xfrm>
            <a:off x="607274" y="646685"/>
            <a:ext cx="10971018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 fontAlgn="ctr">
              <a:defRPr/>
            </a:pPr>
            <a:r>
              <a:rPr lang="cs-CZ" sz="2000" b="1" dirty="0">
                <a:solidFill>
                  <a:srgbClr val="000000"/>
                </a:solidFill>
                <a:latin typeface="Calibri" panose="020F0502020204030204" pitchFamily="34" charset="0"/>
              </a:rPr>
              <a:t>Aktuální počet COVID-19 pozitivních, </a:t>
            </a:r>
            <a:r>
              <a:rPr lang="cs-CZ" sz="2000" b="1" dirty="0">
                <a:solidFill>
                  <a:srgbClr val="C00000"/>
                </a:solidFill>
                <a:latin typeface="Calibri" panose="020F0502020204030204" pitchFamily="34" charset="0"/>
              </a:rPr>
              <a:t>stav k 4. 3. 2022 </a:t>
            </a:r>
            <a:endParaRPr lang="cs-CZ" sz="2000" b="1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graphicFrame>
        <p:nvGraphicFramePr>
          <p:cNvPr id="17" name="Tabulka 16">
            <a:extLst>
              <a:ext uri="{FF2B5EF4-FFF2-40B4-BE49-F238E27FC236}">
                <a16:creationId xmlns:a16="http://schemas.microsoft.com/office/drawing/2014/main" id="{35E2859C-4D5B-4818-B563-9E4138B938E9}"/>
              </a:ext>
            </a:extLst>
          </p:cNvPr>
          <p:cNvGraphicFramePr>
            <a:graphicFrameLocks noGrp="1"/>
          </p:cNvGraphicFramePr>
          <p:nvPr/>
        </p:nvGraphicFramePr>
        <p:xfrm>
          <a:off x="672701" y="1101986"/>
          <a:ext cx="10945906" cy="4780030"/>
        </p:xfrm>
        <a:graphic>
          <a:graphicData uri="http://schemas.openxmlformats.org/drawingml/2006/table">
            <a:tbl>
              <a:tblPr/>
              <a:tblGrid>
                <a:gridCol w="1670422">
                  <a:extLst>
                    <a:ext uri="{9D8B030D-6E8A-4147-A177-3AD203B41FA5}">
                      <a16:colId xmlns:a16="http://schemas.microsoft.com/office/drawing/2014/main" val="413071720"/>
                    </a:ext>
                  </a:extLst>
                </a:gridCol>
                <a:gridCol w="772957">
                  <a:extLst>
                    <a:ext uri="{9D8B030D-6E8A-4147-A177-3AD203B41FA5}">
                      <a16:colId xmlns:a16="http://schemas.microsoft.com/office/drawing/2014/main" val="3345832007"/>
                    </a:ext>
                  </a:extLst>
                </a:gridCol>
                <a:gridCol w="772957">
                  <a:extLst>
                    <a:ext uri="{9D8B030D-6E8A-4147-A177-3AD203B41FA5}">
                      <a16:colId xmlns:a16="http://schemas.microsoft.com/office/drawing/2014/main" val="1533895005"/>
                    </a:ext>
                  </a:extLst>
                </a:gridCol>
                <a:gridCol w="772957">
                  <a:extLst>
                    <a:ext uri="{9D8B030D-6E8A-4147-A177-3AD203B41FA5}">
                      <a16:colId xmlns:a16="http://schemas.microsoft.com/office/drawing/2014/main" val="116061117"/>
                    </a:ext>
                  </a:extLst>
                </a:gridCol>
                <a:gridCol w="772957">
                  <a:extLst>
                    <a:ext uri="{9D8B030D-6E8A-4147-A177-3AD203B41FA5}">
                      <a16:colId xmlns:a16="http://schemas.microsoft.com/office/drawing/2014/main" val="3216505177"/>
                    </a:ext>
                  </a:extLst>
                </a:gridCol>
                <a:gridCol w="772957">
                  <a:extLst>
                    <a:ext uri="{9D8B030D-6E8A-4147-A177-3AD203B41FA5}">
                      <a16:colId xmlns:a16="http://schemas.microsoft.com/office/drawing/2014/main" val="3422552456"/>
                    </a:ext>
                  </a:extLst>
                </a:gridCol>
                <a:gridCol w="772957">
                  <a:extLst>
                    <a:ext uri="{9D8B030D-6E8A-4147-A177-3AD203B41FA5}">
                      <a16:colId xmlns:a16="http://schemas.microsoft.com/office/drawing/2014/main" val="4012377110"/>
                    </a:ext>
                  </a:extLst>
                </a:gridCol>
                <a:gridCol w="772957">
                  <a:extLst>
                    <a:ext uri="{9D8B030D-6E8A-4147-A177-3AD203B41FA5}">
                      <a16:colId xmlns:a16="http://schemas.microsoft.com/office/drawing/2014/main" val="1240375351"/>
                    </a:ext>
                  </a:extLst>
                </a:gridCol>
                <a:gridCol w="772957">
                  <a:extLst>
                    <a:ext uri="{9D8B030D-6E8A-4147-A177-3AD203B41FA5}">
                      <a16:colId xmlns:a16="http://schemas.microsoft.com/office/drawing/2014/main" val="2366221837"/>
                    </a:ext>
                  </a:extLst>
                </a:gridCol>
                <a:gridCol w="772957">
                  <a:extLst>
                    <a:ext uri="{9D8B030D-6E8A-4147-A177-3AD203B41FA5}">
                      <a16:colId xmlns:a16="http://schemas.microsoft.com/office/drawing/2014/main" val="915136564"/>
                    </a:ext>
                  </a:extLst>
                </a:gridCol>
                <a:gridCol w="772957">
                  <a:extLst>
                    <a:ext uri="{9D8B030D-6E8A-4147-A177-3AD203B41FA5}">
                      <a16:colId xmlns:a16="http://schemas.microsoft.com/office/drawing/2014/main" val="1696405920"/>
                    </a:ext>
                  </a:extLst>
                </a:gridCol>
                <a:gridCol w="772957">
                  <a:extLst>
                    <a:ext uri="{9D8B030D-6E8A-4147-A177-3AD203B41FA5}">
                      <a16:colId xmlns:a16="http://schemas.microsoft.com/office/drawing/2014/main" val="256011791"/>
                    </a:ext>
                  </a:extLst>
                </a:gridCol>
                <a:gridCol w="772957">
                  <a:extLst>
                    <a:ext uri="{9D8B030D-6E8A-4147-A177-3AD203B41FA5}">
                      <a16:colId xmlns:a16="http://schemas.microsoft.com/office/drawing/2014/main" val="1711815336"/>
                    </a:ext>
                  </a:extLst>
                </a:gridCol>
              </a:tblGrid>
              <a:tr h="553235">
                <a:tc rowSpan="2"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6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Lékaři</a:t>
                      </a:r>
                      <a:endParaRPr lang="cs-CZ" sz="16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1200" b="0" i="0" u="none" strike="noStrike" dirty="0">
                        <a:solidFill>
                          <a:schemeClr val="accent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1200" b="0" i="0" u="none" strike="noStrike" dirty="0">
                        <a:solidFill>
                          <a:schemeClr val="accent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6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Sesterská povolání </a:t>
                      </a:r>
                    </a:p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(§ 5 Všeobecná sestra, § 5a Dětská sestra, § 6 Porodní asistentka, § 21b Praktická sestra)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1200" b="0" i="0" u="none" strike="noStrike" dirty="0">
                        <a:solidFill>
                          <a:schemeClr val="accent2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1200" b="0" i="0" u="none" strike="noStrike" dirty="0">
                        <a:solidFill>
                          <a:schemeClr val="accent2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6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Ostatní zdravotničtí pracovníci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1200" b="1" i="0" u="none" strike="noStrike" dirty="0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1200" b="1" i="0" u="none" strike="noStrike" dirty="0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31832207"/>
                  </a:ext>
                </a:extLst>
              </a:tr>
              <a:tr h="614705">
                <a:tc vMerge="1"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očet osob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očet osob na 100 tis. obyvatel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očet osob na 100 úvazků*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očet osob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očet osob na 100 tis. obyvatel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očet osob na 100 úvazků*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očet osob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očet osob na 100 tis. obyvatel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očet osob na 100 úvazků*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očet osob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očet osob na 100 tis. obyvatel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očet osob na 100 úvazků*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1881938"/>
                  </a:ext>
                </a:extLst>
              </a:tr>
              <a:tr h="2408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Hlavní město Praha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,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1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,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4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,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8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,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1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06640817"/>
                  </a:ext>
                </a:extLst>
              </a:tr>
              <a:tr h="2408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4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,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9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,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7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,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7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74809383"/>
                  </a:ext>
                </a:extLst>
              </a:tr>
              <a:tr h="2408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,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0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,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0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,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6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,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8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10249884"/>
                  </a:ext>
                </a:extLst>
              </a:tr>
              <a:tr h="2408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,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2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,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7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,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9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,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2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10390105"/>
                  </a:ext>
                </a:extLst>
              </a:tr>
              <a:tr h="2408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5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,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6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,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4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,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4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31515625"/>
                  </a:ext>
                </a:extLst>
              </a:tr>
              <a:tr h="2408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5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,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8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,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8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,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7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03285489"/>
                  </a:ext>
                </a:extLst>
              </a:tr>
              <a:tr h="2408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6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,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1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,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5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,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7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63928224"/>
                  </a:ext>
                </a:extLst>
              </a:tr>
              <a:tr h="2408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,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8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,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3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,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5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,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8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13425417"/>
                  </a:ext>
                </a:extLst>
              </a:tr>
              <a:tr h="2408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2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4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,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2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,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3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21319143"/>
                  </a:ext>
                </a:extLst>
              </a:tr>
              <a:tr h="2408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,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8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,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4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,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9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,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1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469061"/>
                  </a:ext>
                </a:extLst>
              </a:tr>
              <a:tr h="2408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,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9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,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3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,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8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,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0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0745060"/>
                  </a:ext>
                </a:extLst>
              </a:tr>
              <a:tr h="2408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,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7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,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1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,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6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,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8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4359134"/>
                  </a:ext>
                </a:extLst>
              </a:tr>
              <a:tr h="2408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,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9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,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0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,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8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,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9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65124751"/>
                  </a:ext>
                </a:extLst>
              </a:tr>
              <a:tr h="2408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,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7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,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0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,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6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,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8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58326513"/>
                  </a:ext>
                </a:extLst>
              </a:tr>
              <a:tr h="2408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,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8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08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,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1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6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,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7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47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,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9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31328876"/>
                  </a:ext>
                </a:extLst>
              </a:tr>
            </a:tbl>
          </a:graphicData>
        </a:graphic>
      </p:graphicFrame>
      <p:sp>
        <p:nvSpPr>
          <p:cNvPr id="18" name="TextovéPole 17">
            <a:extLst>
              <a:ext uri="{FF2B5EF4-FFF2-40B4-BE49-F238E27FC236}">
                <a16:creationId xmlns:a16="http://schemas.microsoft.com/office/drawing/2014/main" id="{C60E1484-55C4-4B6F-A638-3236D2A6D736}"/>
              </a:ext>
            </a:extLst>
          </p:cNvPr>
          <p:cNvSpPr txBox="1"/>
          <p:nvPr/>
        </p:nvSpPr>
        <p:spPr>
          <a:xfrm>
            <a:off x="2209088" y="5966151"/>
            <a:ext cx="975134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dirty="0">
                <a:latin typeface="Calibri" panose="020F0502020204030204" pitchFamily="34" charset="0"/>
                <a:cs typeface="Calibri" panose="020F0502020204030204" pitchFamily="34" charset="0"/>
              </a:rPr>
              <a:t>* Úvazky včetně smluvních pracovníků za rok 2019 podle statistických zjišťování MZ za rok 2019, v</a:t>
            </a:r>
            <a:r>
              <a:rPr lang="pt-BR" sz="1200" dirty="0">
                <a:latin typeface="Calibri" panose="020F0502020204030204" pitchFamily="34" charset="0"/>
                <a:cs typeface="Calibri" panose="020F0502020204030204" pitchFamily="34" charset="0"/>
              </a:rPr>
              <a:t>ýkaz</a:t>
            </a:r>
            <a:r>
              <a:rPr lang="cs-CZ" sz="1200" dirty="0">
                <a:latin typeface="Calibri" panose="020F0502020204030204" pitchFamily="34" charset="0"/>
                <a:cs typeface="Calibri" panose="020F0502020204030204" pitchFamily="34" charset="0"/>
              </a:rPr>
              <a:t>y</a:t>
            </a:r>
            <a:r>
              <a:rPr lang="pt-BR" sz="1200" dirty="0">
                <a:latin typeface="Calibri" panose="020F0502020204030204" pitchFamily="34" charset="0"/>
                <a:cs typeface="Calibri" panose="020F0502020204030204" pitchFamily="34" charset="0"/>
              </a:rPr>
              <a:t> E (MZ) 2-01, E (MZ) 3-01 a E (MZ) 4-01</a:t>
            </a:r>
            <a:endParaRPr lang="cs-CZ" sz="12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0" name="TextovéPole 19">
            <a:extLst>
              <a:ext uri="{FF2B5EF4-FFF2-40B4-BE49-F238E27FC236}">
                <a16:creationId xmlns:a16="http://schemas.microsoft.com/office/drawing/2014/main" id="{D38389EE-F8C1-4AAD-BB2B-BF9F71F72F8C}"/>
              </a:ext>
            </a:extLst>
          </p:cNvPr>
          <p:cNvSpPr txBox="1"/>
          <p:nvPr/>
        </p:nvSpPr>
        <p:spPr>
          <a:xfrm>
            <a:off x="4911603" y="6276375"/>
            <a:ext cx="705472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dirty="0"/>
              <a:t>Barevná škála vizualizuje rozsah hodnot v územích v rámci sledovaného ukazatele (sloupce)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1834C1AC-8D63-45D3-ADC1-6A054BF785C6}"/>
              </a:ext>
            </a:extLst>
          </p:cNvPr>
          <p:cNvGrpSpPr/>
          <p:nvPr/>
        </p:nvGrpSpPr>
        <p:grpSpPr>
          <a:xfrm>
            <a:off x="2768481" y="6338662"/>
            <a:ext cx="2143122" cy="171474"/>
            <a:chOff x="2185672" y="6586960"/>
            <a:chExt cx="2143122" cy="171474"/>
          </a:xfrm>
        </p:grpSpPr>
        <p:sp>
          <p:nvSpPr>
            <p:cNvPr id="22" name="TextovéPole 21">
              <a:extLst>
                <a:ext uri="{FF2B5EF4-FFF2-40B4-BE49-F238E27FC236}">
                  <a16:creationId xmlns:a16="http://schemas.microsoft.com/office/drawing/2014/main" id="{9B93F5A1-61AB-4ADF-8174-6F49ABD78FD6}"/>
                </a:ext>
              </a:extLst>
            </p:cNvPr>
            <p:cNvSpPr txBox="1"/>
            <p:nvPr/>
          </p:nvSpPr>
          <p:spPr>
            <a:xfrm>
              <a:off x="2185672" y="6586960"/>
              <a:ext cx="2143122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cs-CZ" sz="1000" dirty="0"/>
                <a:t>min %                                    max %</a:t>
              </a:r>
            </a:p>
          </p:txBody>
        </p:sp>
        <p:pic>
          <p:nvPicPr>
            <p:cNvPr id="24" name="Obrázek 23">
              <a:extLst>
                <a:ext uri="{FF2B5EF4-FFF2-40B4-BE49-F238E27FC236}">
                  <a16:creationId xmlns:a16="http://schemas.microsoft.com/office/drawing/2014/main" id="{A9AA69C9-AA2B-4055-9A8C-660DAE0AD60B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2653291" y="6586960"/>
              <a:ext cx="1190791" cy="171474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8755720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abulka 4">
            <a:extLst>
              <a:ext uri="{FF2B5EF4-FFF2-40B4-BE49-F238E27FC236}">
                <a16:creationId xmlns:a16="http://schemas.microsoft.com/office/drawing/2014/main" id="{D532414B-C360-4FFC-837E-F0A9D9670BB3}"/>
              </a:ext>
            </a:extLst>
          </p:cNvPr>
          <p:cNvGraphicFramePr>
            <a:graphicFrameLocks noGrp="1"/>
          </p:cNvGraphicFramePr>
          <p:nvPr/>
        </p:nvGraphicFramePr>
        <p:xfrm>
          <a:off x="3787236" y="1996276"/>
          <a:ext cx="7347932" cy="3996645"/>
        </p:xfrm>
        <a:graphic>
          <a:graphicData uri="http://schemas.openxmlformats.org/drawingml/2006/table">
            <a:tbl>
              <a:tblPr/>
              <a:tblGrid>
                <a:gridCol w="1836983">
                  <a:extLst>
                    <a:ext uri="{9D8B030D-6E8A-4147-A177-3AD203B41FA5}">
                      <a16:colId xmlns:a16="http://schemas.microsoft.com/office/drawing/2014/main" val="3379886283"/>
                    </a:ext>
                  </a:extLst>
                </a:gridCol>
                <a:gridCol w="1836983">
                  <a:extLst>
                    <a:ext uri="{9D8B030D-6E8A-4147-A177-3AD203B41FA5}">
                      <a16:colId xmlns:a16="http://schemas.microsoft.com/office/drawing/2014/main" val="717569204"/>
                    </a:ext>
                  </a:extLst>
                </a:gridCol>
                <a:gridCol w="1836983">
                  <a:extLst>
                    <a:ext uri="{9D8B030D-6E8A-4147-A177-3AD203B41FA5}">
                      <a16:colId xmlns:a16="http://schemas.microsoft.com/office/drawing/2014/main" val="4090580897"/>
                    </a:ext>
                  </a:extLst>
                </a:gridCol>
                <a:gridCol w="1836983">
                  <a:extLst>
                    <a:ext uri="{9D8B030D-6E8A-4147-A177-3AD203B41FA5}">
                      <a16:colId xmlns:a16="http://schemas.microsoft.com/office/drawing/2014/main" val="3663287920"/>
                    </a:ext>
                  </a:extLst>
                </a:gridCol>
              </a:tblGrid>
              <a:tr h="266443"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4472C4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ED7D3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80808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03762177"/>
                  </a:ext>
                </a:extLst>
              </a:tr>
              <a:tr h="266443"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4472C4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EE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ED7D3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6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80808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FD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5D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3242963"/>
                  </a:ext>
                </a:extLst>
              </a:tr>
              <a:tr h="266443"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4472C4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AD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ED7D3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1E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80808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6E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2E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24423083"/>
                  </a:ext>
                </a:extLst>
              </a:tr>
              <a:tr h="266443"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4472C4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6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ED7D3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DD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80808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BD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4D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22039386"/>
                  </a:ext>
                </a:extLst>
              </a:tr>
              <a:tr h="266443"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4472C4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8F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ED7D3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80808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4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8F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60694887"/>
                  </a:ext>
                </a:extLst>
              </a:tr>
              <a:tr h="266443"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4472C4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6E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ED7D3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2E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80808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9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A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71415297"/>
                  </a:ext>
                </a:extLst>
              </a:tr>
              <a:tr h="266443"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4472C4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8F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ED7D3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2F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80808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BF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7F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44942277"/>
                  </a:ext>
                </a:extLst>
              </a:tr>
              <a:tr h="266443"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4472C4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4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ED7D3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BD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80808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9E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2E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14897713"/>
                  </a:ext>
                </a:extLst>
              </a:tr>
              <a:tr h="266443"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4472C4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ED7D3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80808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57610566"/>
                  </a:ext>
                </a:extLst>
              </a:tr>
              <a:tr h="266443"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4472C4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8E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ED7D3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AD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80808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4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0E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86526811"/>
                  </a:ext>
                </a:extLst>
              </a:tr>
              <a:tr h="266443"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4472C4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4B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ED7D3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AAA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80808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BB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B2B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3051516"/>
                  </a:ext>
                </a:extLst>
              </a:tr>
              <a:tr h="266443"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4472C4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4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ED7D3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AD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80808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4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0E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75260453"/>
                  </a:ext>
                </a:extLst>
              </a:tr>
              <a:tr h="266443"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4472C4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4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ED7D3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CE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80808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CD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5E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84090519"/>
                  </a:ext>
                </a:extLst>
              </a:tr>
              <a:tr h="266443"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4472C4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8C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ED7D3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1C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80808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4C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4C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29190859"/>
                  </a:ext>
                </a:extLst>
              </a:tr>
              <a:tr h="266443">
                <a:tc>
                  <a:txBody>
                    <a:bodyPr/>
                    <a:lstStyle/>
                    <a:p>
                      <a:pPr algn="ctr" fontAlgn="ctr"/>
                      <a:endParaRPr lang="cs-CZ" sz="1200" b="1" i="0" u="none" strike="noStrike">
                        <a:solidFill>
                          <a:srgbClr val="4472C4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1" i="0" u="none" strike="noStrike">
                        <a:solidFill>
                          <a:srgbClr val="ED7D3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1" i="0" u="none" strike="noStrike">
                        <a:solidFill>
                          <a:srgbClr val="80808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94717536"/>
                  </a:ext>
                </a:extLst>
              </a:tr>
            </a:tbl>
          </a:graphicData>
        </a:graphic>
      </p:graphicFrame>
      <p:sp>
        <p:nvSpPr>
          <p:cNvPr id="15" name="TextovéPole 8">
            <a:extLst>
              <a:ext uri="{FF2B5EF4-FFF2-40B4-BE49-F238E27FC236}">
                <a16:creationId xmlns:a16="http://schemas.microsoft.com/office/drawing/2014/main" id="{647DDAC2-3C77-4F03-9BD2-24C7C1216857}"/>
              </a:ext>
            </a:extLst>
          </p:cNvPr>
          <p:cNvSpPr txBox="1"/>
          <p:nvPr/>
        </p:nvSpPr>
        <p:spPr>
          <a:xfrm>
            <a:off x="2990850" y="6567385"/>
            <a:ext cx="636270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Zdroj: ISIN – Informační systém infekční nemocí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9FAB93A6-2228-45F5-872E-1F511F38CC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9010" y="2"/>
            <a:ext cx="7864952" cy="576000"/>
          </a:xfrm>
        </p:spPr>
        <p:txBody>
          <a:bodyPr/>
          <a:lstStyle/>
          <a:p>
            <a:r>
              <a:rPr lang="cs-CZ" dirty="0"/>
              <a:t>Počty pracovníků ve zdravotnictví (ZP) s nákazou COVID-19</a:t>
            </a:r>
          </a:p>
        </p:txBody>
      </p:sp>
      <p:graphicFrame>
        <p:nvGraphicFramePr>
          <p:cNvPr id="9" name="Tabulka 8">
            <a:extLst>
              <a:ext uri="{FF2B5EF4-FFF2-40B4-BE49-F238E27FC236}">
                <a16:creationId xmlns:a16="http://schemas.microsoft.com/office/drawing/2014/main" id="{7C1367ED-B273-4E58-BBB3-AD1B81F63A12}"/>
              </a:ext>
            </a:extLst>
          </p:cNvPr>
          <p:cNvGraphicFramePr>
            <a:graphicFrameLocks noGrp="1"/>
          </p:cNvGraphicFramePr>
          <p:nvPr/>
        </p:nvGraphicFramePr>
        <p:xfrm>
          <a:off x="1093858" y="1238720"/>
          <a:ext cx="10041310" cy="4754200"/>
        </p:xfrm>
        <a:graphic>
          <a:graphicData uri="http://schemas.openxmlformats.org/drawingml/2006/table">
            <a:tbl>
              <a:tblPr/>
              <a:tblGrid>
                <a:gridCol w="2694402">
                  <a:extLst>
                    <a:ext uri="{9D8B030D-6E8A-4147-A177-3AD203B41FA5}">
                      <a16:colId xmlns:a16="http://schemas.microsoft.com/office/drawing/2014/main" val="413071720"/>
                    </a:ext>
                  </a:extLst>
                </a:gridCol>
                <a:gridCol w="1836727">
                  <a:extLst>
                    <a:ext uri="{9D8B030D-6E8A-4147-A177-3AD203B41FA5}">
                      <a16:colId xmlns:a16="http://schemas.microsoft.com/office/drawing/2014/main" val="3345832007"/>
                    </a:ext>
                  </a:extLst>
                </a:gridCol>
                <a:gridCol w="1836727">
                  <a:extLst>
                    <a:ext uri="{9D8B030D-6E8A-4147-A177-3AD203B41FA5}">
                      <a16:colId xmlns:a16="http://schemas.microsoft.com/office/drawing/2014/main" val="3216505177"/>
                    </a:ext>
                  </a:extLst>
                </a:gridCol>
                <a:gridCol w="1836727">
                  <a:extLst>
                    <a:ext uri="{9D8B030D-6E8A-4147-A177-3AD203B41FA5}">
                      <a16:colId xmlns:a16="http://schemas.microsoft.com/office/drawing/2014/main" val="1240375351"/>
                    </a:ext>
                  </a:extLst>
                </a:gridCol>
                <a:gridCol w="1836727">
                  <a:extLst>
                    <a:ext uri="{9D8B030D-6E8A-4147-A177-3AD203B41FA5}">
                      <a16:colId xmlns:a16="http://schemas.microsoft.com/office/drawing/2014/main" val="1696405920"/>
                    </a:ext>
                  </a:extLst>
                </a:gridCol>
              </a:tblGrid>
              <a:tr h="763945"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00" b="1" i="0" u="none" strike="noStrike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Počet celkem </a:t>
                      </a:r>
                    </a:p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i="0" u="none" strike="noStrike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(*z toho v nemocnicích akutní lůžkové péče / ambulance PL, PLDD, PL gynekolog / ambulance zubního lékaře)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Lékaři</a:t>
                      </a:r>
                      <a:endParaRPr lang="cs-CZ" sz="14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6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Sesterská povolání </a:t>
                      </a:r>
                    </a:p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(§ 5 Všeobecná sestra, § 5a Dětská sestra, § 6 Porodní asistentka, § 21b Praktická sestra)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Ostatní zdravotničtí pracovníci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31832207"/>
                  </a:ext>
                </a:extLst>
              </a:tr>
              <a:tr h="266017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Hlavní město Praha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7 (51 / 4 / 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1 (113 / 4 / 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0 (74 / 1 / 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8 (238 / 9 / 1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06640817"/>
                  </a:ext>
                </a:extLst>
              </a:tr>
              <a:tr h="266017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 (13 / 2 / 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 (38 / 3 / 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 (24 / - / 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4 (75 / 5 / 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74809383"/>
                  </a:ext>
                </a:extLst>
              </a:tr>
              <a:tr h="266017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 (13 / 7 / 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 (32 / 2 / 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 (13 / 1 / 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4 (58 / 10 / 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10249884"/>
                  </a:ext>
                </a:extLst>
              </a:tr>
              <a:tr h="266017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 (17 / 2 / -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 (40 / 2 / 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 (25 / - / 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8 (82 / 4 / 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10390105"/>
                  </a:ext>
                </a:extLst>
              </a:tr>
              <a:tr h="266017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(3 / 2 / 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 (4 / - / -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 (7 / - / -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 (14 / 2 / 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31515625"/>
                  </a:ext>
                </a:extLst>
              </a:tr>
              <a:tr h="266017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 (6 / 1 / 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 (30 / 1 / 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 (35 / - / 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2 (71 / 2 / 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03285489"/>
                  </a:ext>
                </a:extLst>
              </a:tr>
              <a:tr h="266017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(5 / - / -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 (17 / 1 / -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 (11 / - / -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 (33 / 1 / -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63928224"/>
                  </a:ext>
                </a:extLst>
              </a:tr>
              <a:tr h="266017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(7 / 4 / 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 (32 / 2 / 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 (20 / - / 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4 (59 / 6 / 9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13425417"/>
                  </a:ext>
                </a:extLst>
              </a:tr>
              <a:tr h="266017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(- / 1 / 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(1 / 2 / 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 (- / - / -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 (1 / 3 / 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21319143"/>
                  </a:ext>
                </a:extLst>
              </a:tr>
              <a:tr h="266017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 (6 / 5 / 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 (29 / 2 / 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 (14 / - / -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7 (49 / 7 / 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469061"/>
                  </a:ext>
                </a:extLst>
              </a:tr>
              <a:tr h="266017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 (27 / 4 / 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 (65 / 4 / 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0 (45 / - / 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0 (137 / 8 / 1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0745060"/>
                  </a:ext>
                </a:extLst>
              </a:tr>
              <a:tr h="266017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(9 / 2 / 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 (36 / 1 / -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 (18 / - / 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9 (63 / 3 / 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4359134"/>
                  </a:ext>
                </a:extLst>
              </a:tr>
              <a:tr h="266017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(8 / - / 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 (16 / 1 / -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 (12 / - / 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6 (36 / 1 / 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65124751"/>
                  </a:ext>
                </a:extLst>
              </a:tr>
              <a:tr h="266017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 (21 / 5 / 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 (53 / 5 / 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 (34 / - / 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7 (108 / 10 / 1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58326513"/>
                  </a:ext>
                </a:extLst>
              </a:tr>
              <a:tr h="266017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3 (186 / 39 / 3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2 (506 / 30 / 2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2 (332 / 2 / 2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07 (1024 / 71 / 8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31328876"/>
                  </a:ext>
                </a:extLst>
              </a:tr>
            </a:tbl>
          </a:graphicData>
        </a:graphic>
      </p:graphicFrame>
      <p:sp>
        <p:nvSpPr>
          <p:cNvPr id="6" name="Obdélník 4">
            <a:extLst>
              <a:ext uri="{FF2B5EF4-FFF2-40B4-BE49-F238E27FC236}">
                <a16:creationId xmlns:a16="http://schemas.microsoft.com/office/drawing/2014/main" id="{CF4F4DD4-5D05-4AA4-B6B7-30E2E7BF4344}"/>
              </a:ext>
            </a:extLst>
          </p:cNvPr>
          <p:cNvSpPr/>
          <p:nvPr/>
        </p:nvSpPr>
        <p:spPr>
          <a:xfrm>
            <a:off x="609693" y="724725"/>
            <a:ext cx="10971018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 fontAlgn="ctr"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nově COVID-19 pozitivních </a:t>
            </a:r>
            <a:r>
              <a:rPr lang="cs-CZ" sz="2000" b="1" dirty="0">
                <a:solidFill>
                  <a:srgbClr val="C00000"/>
                </a:solidFill>
                <a:latin typeface="Calibri" panose="020F0502020204030204" pitchFamily="34" charset="0"/>
              </a:rPr>
              <a:t>za 7denní období 26. 2. – 4. 3. 2022 </a:t>
            </a:r>
            <a:endParaRPr kumimoji="0" lang="cs-CZ" sz="2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11" name="TextovéPole 10">
            <a:extLst>
              <a:ext uri="{FF2B5EF4-FFF2-40B4-BE49-F238E27FC236}">
                <a16:creationId xmlns:a16="http://schemas.microsoft.com/office/drawing/2014/main" id="{7DA84AC6-10F0-4D41-9F1A-6572994DE132}"/>
              </a:ext>
            </a:extLst>
          </p:cNvPr>
          <p:cNvSpPr txBox="1"/>
          <p:nvPr/>
        </p:nvSpPr>
        <p:spPr>
          <a:xfrm>
            <a:off x="3707125" y="6081831"/>
            <a:ext cx="705472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dirty="0"/>
              <a:t>Barevné škály vizualizují rozsah hodnot v územích v rámci sledovaného ukazatele (sloupce)</a:t>
            </a: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648325E5-F71A-402A-B781-52C4AA1B55C4}"/>
              </a:ext>
            </a:extLst>
          </p:cNvPr>
          <p:cNvSpPr txBox="1"/>
          <p:nvPr/>
        </p:nvSpPr>
        <p:spPr>
          <a:xfrm>
            <a:off x="1495631" y="6316806"/>
            <a:ext cx="938316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dirty="0"/>
              <a:t>* zdravotničtí pracovníci mohou být zaměstnáni ve více typech zdravotnických zařízení a jsou pak započítáni do každé příslušné skupiny</a:t>
            </a:r>
          </a:p>
        </p:txBody>
      </p:sp>
      <p:grpSp>
        <p:nvGrpSpPr>
          <p:cNvPr id="17" name="Skupina 16">
            <a:extLst>
              <a:ext uri="{FF2B5EF4-FFF2-40B4-BE49-F238E27FC236}">
                <a16:creationId xmlns:a16="http://schemas.microsoft.com/office/drawing/2014/main" id="{747C38F7-A7F7-4B0C-9D0A-01511E1A6161}"/>
              </a:ext>
            </a:extLst>
          </p:cNvPr>
          <p:cNvGrpSpPr/>
          <p:nvPr/>
        </p:nvGrpSpPr>
        <p:grpSpPr>
          <a:xfrm>
            <a:off x="1592578" y="6134593"/>
            <a:ext cx="2143122" cy="171474"/>
            <a:chOff x="2185672" y="6586960"/>
            <a:chExt cx="2143122" cy="171474"/>
          </a:xfrm>
        </p:grpSpPr>
        <p:sp>
          <p:nvSpPr>
            <p:cNvPr id="18" name="TextovéPole 17">
              <a:extLst>
                <a:ext uri="{FF2B5EF4-FFF2-40B4-BE49-F238E27FC236}">
                  <a16:creationId xmlns:a16="http://schemas.microsoft.com/office/drawing/2014/main" id="{159EDEC4-9347-43EC-A452-533F0BDD4739}"/>
                </a:ext>
              </a:extLst>
            </p:cNvPr>
            <p:cNvSpPr txBox="1"/>
            <p:nvPr/>
          </p:nvSpPr>
          <p:spPr>
            <a:xfrm>
              <a:off x="2185672" y="6586960"/>
              <a:ext cx="2143122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cs-CZ" sz="1000" dirty="0"/>
                <a:t>min %                                    max %</a:t>
              </a:r>
            </a:p>
          </p:txBody>
        </p:sp>
        <p:pic>
          <p:nvPicPr>
            <p:cNvPr id="19" name="Obrázek 18">
              <a:extLst>
                <a:ext uri="{FF2B5EF4-FFF2-40B4-BE49-F238E27FC236}">
                  <a16:creationId xmlns:a16="http://schemas.microsoft.com/office/drawing/2014/main" id="{67B50C2A-82CD-4E17-A551-738737906C90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2653291" y="6586960"/>
              <a:ext cx="1190791" cy="171474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961000715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adpis 1"/>
          <p:cNvSpPr txBox="1">
            <a:spLocks/>
          </p:cNvSpPr>
          <p:nvPr/>
        </p:nvSpPr>
        <p:spPr>
          <a:xfrm>
            <a:off x="0" y="3900346"/>
            <a:ext cx="12192000" cy="1890853"/>
          </a:xfrm>
          <a:prstGeom prst="rect">
            <a:avLst/>
          </a:prstGeom>
        </p:spPr>
        <p:txBody>
          <a:bodyPr vert="horz" lIns="91440" tIns="45720" rIns="91440" bIns="45720" rtlCol="0" anchor="b">
            <a:normAutofit lnSpcReduction="10000"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b="1" kern="12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4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III.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4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Nákazy zdravotnických pracovníků 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4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a ochranný efekt očkování</a:t>
            </a:r>
          </a:p>
        </p:txBody>
      </p:sp>
      <p:sp>
        <p:nvSpPr>
          <p:cNvPr id="5" name="Nadpis 1"/>
          <p:cNvSpPr txBox="1">
            <a:spLocks/>
          </p:cNvSpPr>
          <p:nvPr/>
        </p:nvSpPr>
        <p:spPr>
          <a:xfrm>
            <a:off x="73152" y="1801368"/>
            <a:ext cx="12192000" cy="1690573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97500"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b="1" kern="12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4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Stav a vývoj epidemie COVID-19 </a:t>
            </a:r>
            <a:br>
              <a:rPr kumimoji="0" lang="cs-CZ" sz="4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</a:br>
            <a:r>
              <a:rPr kumimoji="0" lang="cs-CZ" sz="4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v dostupných datech</a:t>
            </a:r>
          </a:p>
        </p:txBody>
      </p:sp>
    </p:spTree>
    <p:extLst>
      <p:ext uri="{BB962C8B-B14F-4D97-AF65-F5344CB8AC3E}">
        <p14:creationId xmlns:p14="http://schemas.microsoft.com/office/powerpoint/2010/main" val="3236314878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Nadpis 3">
            <a:extLst>
              <a:ext uri="{FF2B5EF4-FFF2-40B4-BE49-F238E27FC236}">
                <a16:creationId xmlns:a16="http://schemas.microsoft.com/office/drawing/2014/main" id="{2FE90CF0-2B13-4453-9548-96577BE18280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09330" y="3624"/>
            <a:ext cx="11462559" cy="576000"/>
          </a:xfrm>
        </p:spPr>
        <p:txBody>
          <a:bodyPr/>
          <a:lstStyle/>
          <a:p>
            <a:r>
              <a:rPr lang="en-US" dirty="0"/>
              <a:t>Po</a:t>
            </a:r>
            <a:r>
              <a:rPr lang="cs-CZ" dirty="0"/>
              <a:t>čet nových případů COVID-19 na 100 tis. dané kategorie v populaci ZP celkem </a:t>
            </a:r>
          </a:p>
        </p:txBody>
      </p:sp>
      <p:graphicFrame>
        <p:nvGraphicFramePr>
          <p:cNvPr id="11" name="Graf 10">
            <a:extLst>
              <a:ext uri="{FF2B5EF4-FFF2-40B4-BE49-F238E27FC236}">
                <a16:creationId xmlns:a16="http://schemas.microsoft.com/office/drawing/2014/main" id="{24C0D3B3-E868-48ED-8B20-E96346203717}"/>
              </a:ext>
            </a:extLst>
          </p:cNvPr>
          <p:cNvGraphicFramePr/>
          <p:nvPr>
            <p:custDataLst>
              <p:tags r:id="rId2"/>
            </p:custDataLst>
          </p:nvPr>
        </p:nvGraphicFramePr>
        <p:xfrm>
          <a:off x="287979" y="886720"/>
          <a:ext cx="11370005" cy="588335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12" name="Tabulka 6">
            <a:extLst>
              <a:ext uri="{FF2B5EF4-FFF2-40B4-BE49-F238E27FC236}">
                <a16:creationId xmlns:a16="http://schemas.microsoft.com/office/drawing/2014/main" id="{75D422DF-F902-4FEB-95E0-74A260757A75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9954448" y="579624"/>
          <a:ext cx="2237552" cy="210312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2237552">
                  <a:extLst>
                    <a:ext uri="{9D8B030D-6E8A-4147-A177-3AD203B41FA5}">
                      <a16:colId xmlns:a16="http://schemas.microsoft.com/office/drawing/2014/main" val="1141492901"/>
                    </a:ext>
                  </a:extLst>
                </a:gridCol>
              </a:tblGrid>
              <a:tr h="331376">
                <a:tc>
                  <a:txBody>
                    <a:bodyPr/>
                    <a:lstStyle/>
                    <a:p>
                      <a:r>
                        <a:rPr lang="cs-CZ" b="1" dirty="0"/>
                        <a:t>7 denní průměr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35391499"/>
                  </a:ext>
                </a:extLst>
              </a:tr>
              <a:tr h="571964">
                <a:tc>
                  <a:txBody>
                    <a:bodyPr/>
                    <a:lstStyle/>
                    <a:p>
                      <a:r>
                        <a:rPr lang="cs-CZ" sz="1600" dirty="0"/>
                        <a:t>Bez očkování nebo </a:t>
                      </a:r>
                    </a:p>
                    <a:p>
                      <a:r>
                        <a:rPr lang="cs-CZ" sz="1600" dirty="0"/>
                        <a:t>nedokončené očkování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68716768"/>
                  </a:ext>
                </a:extLst>
              </a:tr>
              <a:tr h="571964">
                <a:tc>
                  <a:txBody>
                    <a:bodyPr/>
                    <a:lstStyle/>
                    <a:p>
                      <a:r>
                        <a:rPr lang="cs-CZ" sz="1600" dirty="0"/>
                        <a:t>Ukončené očkování </a:t>
                      </a:r>
                    </a:p>
                    <a:p>
                      <a:r>
                        <a:rPr lang="cs-CZ" sz="1600" dirty="0"/>
                        <a:t>bez posilující dávk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07000598"/>
                  </a:ext>
                </a:extLst>
              </a:tr>
              <a:tr h="571964">
                <a:tc>
                  <a:txBody>
                    <a:bodyPr/>
                    <a:lstStyle/>
                    <a:p>
                      <a:r>
                        <a:rPr lang="cs-CZ" sz="1600" dirty="0"/>
                        <a:t>Ukončené očkování </a:t>
                      </a:r>
                    </a:p>
                    <a:p>
                      <a:r>
                        <a:rPr lang="cs-CZ" sz="1600" dirty="0"/>
                        <a:t>s posilující dávkou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62753142"/>
                  </a:ext>
                </a:extLst>
              </a:tr>
            </a:tbl>
          </a:graphicData>
        </a:graphic>
      </p:graphicFrame>
      <p:grpSp>
        <p:nvGrpSpPr>
          <p:cNvPr id="15" name="Skupina 14">
            <a:extLst>
              <a:ext uri="{FF2B5EF4-FFF2-40B4-BE49-F238E27FC236}">
                <a16:creationId xmlns:a16="http://schemas.microsoft.com/office/drawing/2014/main" id="{97CE6062-A746-4B16-BD2A-949B93077515}"/>
              </a:ext>
            </a:extLst>
          </p:cNvPr>
          <p:cNvGrpSpPr/>
          <p:nvPr/>
        </p:nvGrpSpPr>
        <p:grpSpPr>
          <a:xfrm>
            <a:off x="9452933" y="1218878"/>
            <a:ext cx="501515" cy="1254265"/>
            <a:chOff x="8290713" y="1759987"/>
            <a:chExt cx="501515" cy="1250887"/>
          </a:xfrm>
        </p:grpSpPr>
        <p:cxnSp>
          <p:nvCxnSpPr>
            <p:cNvPr id="16" name="Přímá spojnice 15">
              <a:extLst>
                <a:ext uri="{FF2B5EF4-FFF2-40B4-BE49-F238E27FC236}">
                  <a16:creationId xmlns:a16="http://schemas.microsoft.com/office/drawing/2014/main" id="{EF37563C-7EBE-4F25-BEB6-D430463D6421}"/>
                </a:ext>
              </a:extLst>
            </p:cNvPr>
            <p:cNvCxnSpPr>
              <a:cxnSpLocks/>
            </p:cNvCxnSpPr>
            <p:nvPr/>
          </p:nvCxnSpPr>
          <p:spPr>
            <a:xfrm>
              <a:off x="8290713" y="3010874"/>
              <a:ext cx="496800" cy="0"/>
            </a:xfrm>
            <a:prstGeom prst="line">
              <a:avLst/>
            </a:prstGeom>
            <a:ln w="50800" cmpd="sng"/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cxnSp>
          <p:nvCxnSpPr>
            <p:cNvPr id="17" name="Přímá spojnice 16">
              <a:extLst>
                <a:ext uri="{FF2B5EF4-FFF2-40B4-BE49-F238E27FC236}">
                  <a16:creationId xmlns:a16="http://schemas.microsoft.com/office/drawing/2014/main" id="{5C8167A6-4279-4A9B-B47B-88A5FD918BA6}"/>
                </a:ext>
              </a:extLst>
            </p:cNvPr>
            <p:cNvCxnSpPr>
              <a:cxnSpLocks/>
            </p:cNvCxnSpPr>
            <p:nvPr/>
          </p:nvCxnSpPr>
          <p:spPr>
            <a:xfrm>
              <a:off x="8290713" y="2348462"/>
              <a:ext cx="496800" cy="0"/>
            </a:xfrm>
            <a:prstGeom prst="line">
              <a:avLst/>
            </a:prstGeom>
            <a:ln w="50800" cmpd="sng">
              <a:solidFill>
                <a:srgbClr val="517BC8"/>
              </a:solidFill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cxnSp>
          <p:nvCxnSpPr>
            <p:cNvPr id="18" name="Přímá spojnice 17">
              <a:extLst>
                <a:ext uri="{FF2B5EF4-FFF2-40B4-BE49-F238E27FC236}">
                  <a16:creationId xmlns:a16="http://schemas.microsoft.com/office/drawing/2014/main" id="{FAA41837-EA61-4D95-BFBF-CF1F1DFE6706}"/>
                </a:ext>
              </a:extLst>
            </p:cNvPr>
            <p:cNvCxnSpPr>
              <a:cxnSpLocks/>
            </p:cNvCxnSpPr>
            <p:nvPr/>
          </p:nvCxnSpPr>
          <p:spPr>
            <a:xfrm>
              <a:off x="8295428" y="1759987"/>
              <a:ext cx="496800" cy="0"/>
            </a:xfrm>
            <a:prstGeom prst="line">
              <a:avLst/>
            </a:prstGeom>
            <a:ln w="50800" cmpd="sng">
              <a:solidFill>
                <a:srgbClr val="C41111"/>
              </a:solidFill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</p:grpSp>
      <p:sp>
        <p:nvSpPr>
          <p:cNvPr id="10" name="TextovéPole 9">
            <a:extLst>
              <a:ext uri="{FF2B5EF4-FFF2-40B4-BE49-F238E27FC236}">
                <a16:creationId xmlns:a16="http://schemas.microsoft.com/office/drawing/2014/main" id="{0F818DBC-8348-4AE7-9A11-0990FDEA2123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4888805" y="1119025"/>
            <a:ext cx="223755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P celkem</a:t>
            </a:r>
          </a:p>
        </p:txBody>
      </p:sp>
    </p:spTree>
    <p:extLst>
      <p:ext uri="{BB962C8B-B14F-4D97-AF65-F5344CB8AC3E}">
        <p14:creationId xmlns:p14="http://schemas.microsoft.com/office/powerpoint/2010/main" val="1611625228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205115" y="38814"/>
            <a:ext cx="11614422" cy="132343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chranný efekt plně dokončeného očkování: redukce počtu nákaz – ZP celkem </a:t>
            </a:r>
          </a:p>
        </p:txBody>
      </p:sp>
      <p:sp>
        <p:nvSpPr>
          <p:cNvPr id="11" name="TextovéPole 10">
            <a:extLst>
              <a:ext uri="{FF2B5EF4-FFF2-40B4-BE49-F238E27FC236}">
                <a16:creationId xmlns:a16="http://schemas.microsoft.com/office/drawing/2014/main" id="{B44D7D87-2729-4F55-B1A0-2AB28A82B3CA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3535052" y="439712"/>
            <a:ext cx="405474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ově pozitivní na 100 tis. ZP celkem</a:t>
            </a:r>
          </a:p>
        </p:txBody>
      </p:sp>
      <p:sp>
        <p:nvSpPr>
          <p:cNvPr id="2" name="TextovéPole 1">
            <a:extLst>
              <a:ext uri="{FF2B5EF4-FFF2-40B4-BE49-F238E27FC236}">
                <a16:creationId xmlns:a16="http://schemas.microsoft.com/office/drawing/2014/main" id="{D473318D-4099-4B9B-AF32-91E153367DA0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205115" y="6389511"/>
            <a:ext cx="1188004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* Letní období je spojeno z důvodu nízkého počtu případů v jednotlivých měsících; ** Dokončené očkování: více než 14 dní po 2. dávce dvou dávkové vakcíny nebo více než 14 dní po jedno dávkové vakcinaci: relativní snížení výskytu nákaz je vztaženo ke kohortě neočkovaných nebo osob s nedokončeným očkováním 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3" name="TextovéPole 12">
            <a:extLst>
              <a:ext uri="{FF2B5EF4-FFF2-40B4-BE49-F238E27FC236}">
                <a16:creationId xmlns:a16="http://schemas.microsoft.com/office/drawing/2014/main" id="{F49BE471-0E2C-462B-8FF7-F5902000E2FD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262533" y="5503310"/>
            <a:ext cx="11765212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chranný efekt vakcinace proti nákaze v čase významně klesá, což je známý důsledek šíření varianty Omikron. Avšak posilující dávka vrací ochranu proti nákaze zpět nad hodnotu 70% až 85%. </a:t>
            </a:r>
            <a:r>
              <a:rPr lang="cs-CZ" sz="1400" b="1" dirty="0">
                <a:solidFill>
                  <a:srgbClr val="0000FF"/>
                </a:solidFill>
                <a:latin typeface="Calibri" panose="020F0502020204030204"/>
              </a:rPr>
              <a:t>Aktuální úroveň ochrany osciluje mezi 45% - 50%. </a:t>
            </a: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dravotničtí pracovníci jsou v tomto ohledu velmi důležitý model, jde o profesní skupinu primárně vystavenou riziku nákazy. Zásadním faktem ovšem je, že ochranný efekt vakcinace proti těžkému průběhu nemoci trvá i v této profesní kategorii. V současnosti registrujeme pouze jednotky ZP s těžším průběhem nemoci po očkování. 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000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8" name="Table 5">
            <a:extLst>
              <a:ext uri="{FF2B5EF4-FFF2-40B4-BE49-F238E27FC236}">
                <a16:creationId xmlns:a16="http://schemas.microsoft.com/office/drawing/2014/main" id="{316CE1F9-FF0D-46C3-8234-4B87BF66C88B}"/>
              </a:ext>
            </a:extLst>
          </p:cNvPr>
          <p:cNvGraphicFramePr>
            <a:graphicFrameLocks noGrp="1"/>
          </p:cNvGraphicFramePr>
          <p:nvPr>
            <p:custDataLst>
              <p:tags r:id="rId5"/>
            </p:custDataLst>
          </p:nvPr>
        </p:nvGraphicFramePr>
        <p:xfrm>
          <a:off x="674256" y="377523"/>
          <a:ext cx="11145281" cy="5165892"/>
        </p:xfrm>
        <a:graphic>
          <a:graphicData uri="http://schemas.openxmlformats.org/drawingml/2006/table">
            <a:tbl>
              <a:tblPr/>
              <a:tblGrid>
                <a:gridCol w="1560945">
                  <a:extLst>
                    <a:ext uri="{9D8B030D-6E8A-4147-A177-3AD203B41FA5}">
                      <a16:colId xmlns:a16="http://schemas.microsoft.com/office/drawing/2014/main" val="1012450698"/>
                    </a:ext>
                  </a:extLst>
                </a:gridCol>
                <a:gridCol w="2235200">
                  <a:extLst>
                    <a:ext uri="{9D8B030D-6E8A-4147-A177-3AD203B41FA5}">
                      <a16:colId xmlns:a16="http://schemas.microsoft.com/office/drawing/2014/main" val="2962437353"/>
                    </a:ext>
                  </a:extLst>
                </a:gridCol>
                <a:gridCol w="1791855">
                  <a:extLst>
                    <a:ext uri="{9D8B030D-6E8A-4147-A177-3AD203B41FA5}">
                      <a16:colId xmlns:a16="http://schemas.microsoft.com/office/drawing/2014/main" val="2908102936"/>
                    </a:ext>
                  </a:extLst>
                </a:gridCol>
                <a:gridCol w="1838036">
                  <a:extLst>
                    <a:ext uri="{9D8B030D-6E8A-4147-A177-3AD203B41FA5}">
                      <a16:colId xmlns:a16="http://schemas.microsoft.com/office/drawing/2014/main" val="205287478"/>
                    </a:ext>
                  </a:extLst>
                </a:gridCol>
                <a:gridCol w="1930400">
                  <a:extLst>
                    <a:ext uri="{9D8B030D-6E8A-4147-A177-3AD203B41FA5}">
                      <a16:colId xmlns:a16="http://schemas.microsoft.com/office/drawing/2014/main" val="1508245454"/>
                    </a:ext>
                  </a:extLst>
                </a:gridCol>
                <a:gridCol w="1788845">
                  <a:extLst>
                    <a:ext uri="{9D8B030D-6E8A-4147-A177-3AD203B41FA5}">
                      <a16:colId xmlns:a16="http://schemas.microsoft.com/office/drawing/2014/main" val="3669102844"/>
                    </a:ext>
                  </a:extLst>
                </a:gridCol>
              </a:tblGrid>
              <a:tr h="394426">
                <a:tc>
                  <a:txBody>
                    <a:bodyPr/>
                    <a:lstStyle/>
                    <a:p>
                      <a:pPr algn="ctr" fontAlgn="b"/>
                      <a:endParaRPr lang="cs-CZ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 gridSpan="4">
                  <a:txBody>
                    <a:bodyPr/>
                    <a:lstStyle/>
                    <a:p>
                      <a:pPr algn="ctr" fontAlgn="b"/>
                      <a:r>
                        <a:rPr lang="cs-CZ" sz="2000" b="1" i="0" u="none" strike="noStrike" dirty="0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                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 fontAlgn="b"/>
                      <a:endParaRPr lang="cs-CZ" sz="2000" b="1" i="0" u="none" strike="noStrike" dirty="0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16511605"/>
                  </a:ext>
                </a:extLst>
              </a:tr>
              <a:tr h="827206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ěsíc </a:t>
                      </a:r>
                    </a:p>
                    <a:p>
                      <a:pPr algn="l" fontAlgn="b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oku 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Neočkovan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 </a:t>
                      </a:r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</a:t>
                      </a:r>
                      <a:r>
                        <a:rPr lang="en-US" sz="14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on</a:t>
                      </a:r>
                      <a:r>
                        <a:rPr lang="cs-CZ" sz="14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eném</a:t>
                      </a:r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</a:p>
                    <a:p>
                      <a:pPr algn="ctr" fontAlgn="b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čkování **</a:t>
                      </a:r>
                    </a:p>
                    <a:p>
                      <a:pPr algn="ctr" fontAlgn="b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EZ posilující dávky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 </a:t>
                      </a:r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</a:t>
                      </a:r>
                      <a:r>
                        <a:rPr lang="en-US" sz="14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on</a:t>
                      </a:r>
                      <a:r>
                        <a:rPr lang="cs-CZ" sz="14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eném</a:t>
                      </a:r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</a:p>
                    <a:p>
                      <a:pPr algn="ctr" fontAlgn="b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čkování **</a:t>
                      </a:r>
                    </a:p>
                    <a:p>
                      <a:pPr algn="ctr" fontAlgn="b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+ posilující dávka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Ochranný efekt dokončeného očkování BEZ posilující dávky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Ochranný efekt dokončeného očkování S posilující dávkou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1661197"/>
                  </a:ext>
                </a:extLst>
              </a:tr>
              <a:tr h="394426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řezen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522.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3.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90.59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0000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0801451"/>
                  </a:ext>
                </a:extLst>
              </a:tr>
              <a:tr h="394426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uben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11.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8.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88.75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0000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65578488"/>
                  </a:ext>
                </a:extLst>
              </a:tr>
              <a:tr h="394426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věten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1.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.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81.49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0000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78290151"/>
                  </a:ext>
                </a:extLst>
              </a:tr>
              <a:tr h="394426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erven-Srpen*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0.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.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74.23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0000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24143900"/>
                  </a:ext>
                </a:extLst>
              </a:tr>
              <a:tr h="394426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áří-Říjen*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534.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10.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5.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71.98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00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92.69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7454973"/>
                  </a:ext>
                </a:extLst>
              </a:tr>
              <a:tr h="394426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stopad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367.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955.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80.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64.68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88.28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60465014"/>
                  </a:ext>
                </a:extLst>
              </a:tr>
              <a:tr h="394426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osinec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699.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168.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23.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61.96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85.55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45396447"/>
                  </a:ext>
                </a:extLst>
              </a:tr>
              <a:tr h="394426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Leden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 283.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109.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794.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44.96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48.35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20935764"/>
                  </a:ext>
                </a:extLst>
              </a:tr>
              <a:tr h="394426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Únor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 905.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607.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308.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52.90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47.01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18824829"/>
                  </a:ext>
                </a:extLst>
              </a:tr>
              <a:tr h="394426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Březen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87.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3.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7.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52.29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20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43.93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29928031"/>
                  </a:ext>
                </a:extLst>
              </a:tr>
            </a:tbl>
          </a:graphicData>
        </a:graphic>
      </p:graphicFrame>
      <p:sp>
        <p:nvSpPr>
          <p:cNvPr id="9" name="TextBox 6">
            <a:extLst>
              <a:ext uri="{FF2B5EF4-FFF2-40B4-BE49-F238E27FC236}">
                <a16:creationId xmlns:a16="http://schemas.microsoft.com/office/drawing/2014/main" id="{88D59402-44A7-484E-A9FC-6E0E986A6C4A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10450588" y="432861"/>
            <a:ext cx="201869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tav k 5.3. 2022</a:t>
            </a:r>
          </a:p>
        </p:txBody>
      </p:sp>
    </p:spTree>
    <p:extLst>
      <p:ext uri="{BB962C8B-B14F-4D97-AF65-F5344CB8AC3E}">
        <p14:creationId xmlns:p14="http://schemas.microsoft.com/office/powerpoint/2010/main" val="4095966772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adpis 1"/>
          <p:cNvSpPr txBox="1">
            <a:spLocks/>
          </p:cNvSpPr>
          <p:nvPr/>
        </p:nvSpPr>
        <p:spPr>
          <a:xfrm>
            <a:off x="0" y="3900347"/>
            <a:ext cx="12192000" cy="1973980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92500" lnSpcReduction="20000"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b="1" kern="12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4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Příloha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4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4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Nákazy pracovníků sociálních služeb 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4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(přímé hlášení od poskytovatelů)</a:t>
            </a:r>
          </a:p>
        </p:txBody>
      </p:sp>
      <p:sp>
        <p:nvSpPr>
          <p:cNvPr id="5" name="Nadpis 1"/>
          <p:cNvSpPr txBox="1">
            <a:spLocks/>
          </p:cNvSpPr>
          <p:nvPr/>
        </p:nvSpPr>
        <p:spPr>
          <a:xfrm>
            <a:off x="73152" y="1801368"/>
            <a:ext cx="12192000" cy="1690573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97500"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b="1" kern="12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4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Stav a vývoj epidemie COVID-19 </a:t>
            </a:r>
            <a:br>
              <a:rPr kumimoji="0" lang="cs-CZ" sz="4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</a:br>
            <a:r>
              <a:rPr kumimoji="0" lang="cs-CZ" sz="4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v dostupných datech</a:t>
            </a:r>
          </a:p>
        </p:txBody>
      </p:sp>
    </p:spTree>
    <p:extLst>
      <p:ext uri="{BB962C8B-B14F-4D97-AF65-F5344CB8AC3E}">
        <p14:creationId xmlns:p14="http://schemas.microsoft.com/office/powerpoint/2010/main" val="315382671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ovéPole 8">
            <a:extLst>
              <a:ext uri="{FF2B5EF4-FFF2-40B4-BE49-F238E27FC236}">
                <a16:creationId xmlns:a16="http://schemas.microsoft.com/office/drawing/2014/main" id="{647DDAC2-3C77-4F03-9BD2-24C7C1216857}"/>
              </a:ext>
            </a:extLst>
          </p:cNvPr>
          <p:cNvSpPr txBox="1"/>
          <p:nvPr/>
        </p:nvSpPr>
        <p:spPr>
          <a:xfrm>
            <a:off x="2990850" y="6567385"/>
            <a:ext cx="636270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100" dirty="0">
                <a:latin typeface="Calibri" panose="020F0502020204030204" pitchFamily="34" charset="0"/>
                <a:cs typeface="Calibri" panose="020F0502020204030204" pitchFamily="34" charset="0"/>
              </a:rPr>
              <a:t>Zdroj: ISIN – Informační systém infekční nemocí, modul sociálních služeb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9FAB93A6-2228-45F5-872E-1F511F38CC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9010" y="2"/>
            <a:ext cx="7864952" cy="576000"/>
          </a:xfrm>
        </p:spPr>
        <p:txBody>
          <a:bodyPr/>
          <a:lstStyle/>
          <a:p>
            <a:r>
              <a:rPr lang="cs-CZ" dirty="0"/>
              <a:t>Počty nově COVID-19 pozitivních pracovníků </a:t>
            </a:r>
            <a:br>
              <a:rPr lang="cs-CZ" dirty="0"/>
            </a:br>
            <a:r>
              <a:rPr lang="cs-CZ" dirty="0"/>
              <a:t>v zařízeních sociálních služeb</a:t>
            </a:r>
          </a:p>
        </p:txBody>
      </p:sp>
      <p:graphicFrame>
        <p:nvGraphicFramePr>
          <p:cNvPr id="7" name="Chart 31">
            <a:extLst>
              <a:ext uri="{FF2B5EF4-FFF2-40B4-BE49-F238E27FC236}">
                <a16:creationId xmlns:a16="http://schemas.microsoft.com/office/drawing/2014/main" id="{1A0DC1DF-8CED-49FC-A4A5-065F1A64BD52}"/>
              </a:ext>
            </a:extLst>
          </p:cNvPr>
          <p:cNvGraphicFramePr/>
          <p:nvPr/>
        </p:nvGraphicFramePr>
        <p:xfrm>
          <a:off x="407350" y="1059679"/>
          <a:ext cx="8523006" cy="54866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0" name="TextBox 2">
            <a:extLst>
              <a:ext uri="{FF2B5EF4-FFF2-40B4-BE49-F238E27FC236}">
                <a16:creationId xmlns:a16="http://schemas.microsoft.com/office/drawing/2014/main" id="{FDDA473E-2198-4E37-8DAB-7936176EB801}"/>
              </a:ext>
            </a:extLst>
          </p:cNvPr>
          <p:cNvSpPr txBox="1"/>
          <p:nvPr/>
        </p:nvSpPr>
        <p:spPr>
          <a:xfrm rot="16200000">
            <a:off x="-941446" y="3165866"/>
            <a:ext cx="258756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b="1" dirty="0"/>
              <a:t>Denní počet nových případů</a:t>
            </a:r>
          </a:p>
        </p:txBody>
      </p:sp>
      <p:graphicFrame>
        <p:nvGraphicFramePr>
          <p:cNvPr id="8" name="Tabulka 7">
            <a:extLst>
              <a:ext uri="{FF2B5EF4-FFF2-40B4-BE49-F238E27FC236}">
                <a16:creationId xmlns:a16="http://schemas.microsoft.com/office/drawing/2014/main" id="{B270C58A-BB49-4257-8406-1CEB47E406EE}"/>
              </a:ext>
            </a:extLst>
          </p:cNvPr>
          <p:cNvGraphicFramePr>
            <a:graphicFrameLocks noGrp="1"/>
          </p:cNvGraphicFramePr>
          <p:nvPr/>
        </p:nvGraphicFramePr>
        <p:xfrm>
          <a:off x="9060412" y="1207371"/>
          <a:ext cx="2763052" cy="5050096"/>
        </p:xfrm>
        <a:graphic>
          <a:graphicData uri="http://schemas.openxmlformats.org/drawingml/2006/table">
            <a:tbl>
              <a:tblPr/>
              <a:tblGrid>
                <a:gridCol w="1675629">
                  <a:extLst>
                    <a:ext uri="{9D8B030D-6E8A-4147-A177-3AD203B41FA5}">
                      <a16:colId xmlns:a16="http://schemas.microsoft.com/office/drawing/2014/main" val="413071720"/>
                    </a:ext>
                  </a:extLst>
                </a:gridCol>
                <a:gridCol w="1087423">
                  <a:extLst>
                    <a:ext uri="{9D8B030D-6E8A-4147-A177-3AD203B41FA5}">
                      <a16:colId xmlns:a16="http://schemas.microsoft.com/office/drawing/2014/main" val="1696405920"/>
                    </a:ext>
                  </a:extLst>
                </a:gridCol>
              </a:tblGrid>
              <a:tr h="520379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a posledních </a:t>
                      </a:r>
                    </a:p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7 dní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31832207"/>
                  </a:ext>
                </a:extLst>
              </a:tr>
              <a:tr h="28134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Hlavní město Praha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06640817"/>
                  </a:ext>
                </a:extLst>
              </a:tr>
              <a:tr h="28134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74809383"/>
                  </a:ext>
                </a:extLst>
              </a:tr>
              <a:tr h="28134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10249884"/>
                  </a:ext>
                </a:extLst>
              </a:tr>
              <a:tr h="28134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10390105"/>
                  </a:ext>
                </a:extLst>
              </a:tr>
              <a:tr h="28134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31515625"/>
                  </a:ext>
                </a:extLst>
              </a:tr>
              <a:tr h="28134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03285489"/>
                  </a:ext>
                </a:extLst>
              </a:tr>
              <a:tr h="28134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63928224"/>
                  </a:ext>
                </a:extLst>
              </a:tr>
              <a:tr h="28134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13425417"/>
                  </a:ext>
                </a:extLst>
              </a:tr>
              <a:tr h="28134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21319143"/>
                  </a:ext>
                </a:extLst>
              </a:tr>
              <a:tr h="28134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469061"/>
                  </a:ext>
                </a:extLst>
              </a:tr>
              <a:tr h="28134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0745060"/>
                  </a:ext>
                </a:extLst>
              </a:tr>
              <a:tr h="28134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4359134"/>
                  </a:ext>
                </a:extLst>
              </a:tr>
              <a:tr h="28134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65124751"/>
                  </a:ext>
                </a:extLst>
              </a:tr>
              <a:tr h="28134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58326513"/>
                  </a:ext>
                </a:extLst>
              </a:tr>
              <a:tr h="28134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31328876"/>
                  </a:ext>
                </a:extLst>
              </a:tr>
              <a:tr h="28134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1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7 denní klouzavý průměr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13011470"/>
                  </a:ext>
                </a:extLst>
              </a:tr>
            </a:tbl>
          </a:graphicData>
        </a:graphic>
      </p:graphicFrame>
      <p:sp>
        <p:nvSpPr>
          <p:cNvPr id="9" name="Obdélník 4">
            <a:extLst>
              <a:ext uri="{FF2B5EF4-FFF2-40B4-BE49-F238E27FC236}">
                <a16:creationId xmlns:a16="http://schemas.microsoft.com/office/drawing/2014/main" id="{81867BFA-1453-40BE-A29B-836824A9B5EE}"/>
              </a:ext>
            </a:extLst>
          </p:cNvPr>
          <p:cNvSpPr/>
          <p:nvPr/>
        </p:nvSpPr>
        <p:spPr>
          <a:xfrm>
            <a:off x="609693" y="647811"/>
            <a:ext cx="10971018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 fontAlgn="ctr"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nových COVID-19 pozitivních (incidence), </a:t>
            </a:r>
            <a:r>
              <a:rPr lang="cs-CZ" sz="2000" b="1" dirty="0">
                <a:solidFill>
                  <a:srgbClr val="C00000"/>
                </a:solidFill>
                <a:latin typeface="Calibri" panose="020F0502020204030204" pitchFamily="34" charset="0"/>
              </a:rPr>
              <a:t>stav k 4. 3. 2022</a:t>
            </a:r>
            <a:endParaRPr kumimoji="0" lang="cs-CZ" sz="2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cxnSp>
        <p:nvCxnSpPr>
          <p:cNvPr id="11" name="Straight Connector 4">
            <a:extLst>
              <a:ext uri="{FF2B5EF4-FFF2-40B4-BE49-F238E27FC236}">
                <a16:creationId xmlns:a16="http://schemas.microsoft.com/office/drawing/2014/main" id="{FC15B3FD-8931-45F3-B9FA-489831BF4CD0}"/>
              </a:ext>
            </a:extLst>
          </p:cNvPr>
          <p:cNvCxnSpPr/>
          <p:nvPr/>
        </p:nvCxnSpPr>
        <p:spPr>
          <a:xfrm>
            <a:off x="1075769" y="1393737"/>
            <a:ext cx="360000" cy="0"/>
          </a:xfrm>
          <a:prstGeom prst="line">
            <a:avLst/>
          </a:prstGeom>
          <a:ln w="19050">
            <a:solidFill>
              <a:srgbClr val="002060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Box 5">
            <a:extLst>
              <a:ext uri="{FF2B5EF4-FFF2-40B4-BE49-F238E27FC236}">
                <a16:creationId xmlns:a16="http://schemas.microsoft.com/office/drawing/2014/main" id="{98F82CC0-F179-44D1-AED9-4C8CAA8FCD8F}"/>
              </a:ext>
            </a:extLst>
          </p:cNvPr>
          <p:cNvSpPr txBox="1"/>
          <p:nvPr/>
        </p:nvSpPr>
        <p:spPr>
          <a:xfrm>
            <a:off x="1438027" y="1224463"/>
            <a:ext cx="228299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b="1" dirty="0"/>
              <a:t>7 denní klouzavý průměr</a:t>
            </a:r>
          </a:p>
        </p:txBody>
      </p:sp>
    </p:spTree>
    <p:extLst>
      <p:ext uri="{BB962C8B-B14F-4D97-AF65-F5344CB8AC3E}">
        <p14:creationId xmlns:p14="http://schemas.microsoft.com/office/powerpoint/2010/main" val="2218887678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Graf 7">
            <a:extLst>
              <a:ext uri="{FF2B5EF4-FFF2-40B4-BE49-F238E27FC236}">
                <a16:creationId xmlns:a16="http://schemas.microsoft.com/office/drawing/2014/main" id="{827676BE-FED5-4891-A49E-5B33074F0EA5}"/>
              </a:ext>
            </a:extLst>
          </p:cNvPr>
          <p:cNvGraphicFramePr/>
          <p:nvPr>
            <p:custDataLst>
              <p:tags r:id="rId1"/>
            </p:custDataLst>
          </p:nvPr>
        </p:nvGraphicFramePr>
        <p:xfrm>
          <a:off x="1407510" y="1169485"/>
          <a:ext cx="10661843" cy="53653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41CFAC55-E7BE-4475-808A-CF41E61842C2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381739" y="2"/>
            <a:ext cx="7802892" cy="576000"/>
          </a:xfrm>
        </p:spPr>
        <p:txBody>
          <a:bodyPr/>
          <a:lstStyle/>
          <a:p>
            <a:r>
              <a:rPr lang="cs-CZ" dirty="0"/>
              <a:t>Počty COVID-19 pozitivních na 100 000 osob v populaci pracovníků v sociálních službách</a:t>
            </a:r>
            <a:r>
              <a:rPr lang="en-US" dirty="0"/>
              <a:t>*</a:t>
            </a:r>
            <a:endParaRPr lang="cs-CZ" dirty="0"/>
          </a:p>
        </p:txBody>
      </p:sp>
      <p:sp>
        <p:nvSpPr>
          <p:cNvPr id="12" name="Obdélník 11">
            <a:extLst>
              <a:ext uri="{FF2B5EF4-FFF2-40B4-BE49-F238E27FC236}">
                <a16:creationId xmlns:a16="http://schemas.microsoft.com/office/drawing/2014/main" id="{47330F7D-030D-49C8-BE37-CEFFFE48B489}"/>
              </a:ext>
            </a:extLst>
          </p:cNvPr>
          <p:cNvSpPr/>
          <p:nvPr/>
        </p:nvSpPr>
        <p:spPr>
          <a:xfrm>
            <a:off x="58189" y="1856023"/>
            <a:ext cx="1438102" cy="280076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COVID-19 pozitivních na 100 000 osob  v populaci pracovníků v sociálních službách (suma za hodnocený časový úsek)</a:t>
            </a:r>
          </a:p>
        </p:txBody>
      </p:sp>
      <p:sp>
        <p:nvSpPr>
          <p:cNvPr id="4" name="TextovéPole 3">
            <a:extLst>
              <a:ext uri="{FF2B5EF4-FFF2-40B4-BE49-F238E27FC236}">
                <a16:creationId xmlns:a16="http://schemas.microsoft.com/office/drawing/2014/main" id="{98FA2216-F217-4BAB-A9D1-49D7EE7FFB73}"/>
              </a:ext>
            </a:extLst>
          </p:cNvPr>
          <p:cNvSpPr txBox="1"/>
          <p:nvPr/>
        </p:nvSpPr>
        <p:spPr>
          <a:xfrm>
            <a:off x="245294" y="6380943"/>
            <a:ext cx="1194670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acovníci v zařízeních, které zadávají informace do sociálního modulu ISIN, což odpovídá asi 82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% v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š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ech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acovn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í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ů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oci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á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ln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í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h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lu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ž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b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á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h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40183665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7785" y="0"/>
            <a:ext cx="7434501" cy="576000"/>
          </a:xfrm>
        </p:spPr>
        <p:txBody>
          <a:bodyPr/>
          <a:lstStyle/>
          <a:p>
            <a:r>
              <a:rPr lang="cs-CZ" dirty="0"/>
              <a:t>Očkovaní zdravotničtí pracovníci </a:t>
            </a:r>
            <a:r>
              <a:rPr lang="cs-CZ" u="sng" dirty="0"/>
              <a:t>celkem</a:t>
            </a:r>
          </a:p>
        </p:txBody>
      </p:sp>
      <p:graphicFrame>
        <p:nvGraphicFramePr>
          <p:cNvPr id="3" name="Tabulka 2">
            <a:extLst>
              <a:ext uri="{FF2B5EF4-FFF2-40B4-BE49-F238E27FC236}">
                <a16:creationId xmlns:a16="http://schemas.microsoft.com/office/drawing/2014/main" id="{0C428FC5-EA14-48AE-B731-D5EA9FEB981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09961387"/>
              </p:ext>
            </p:extLst>
          </p:nvPr>
        </p:nvGraphicFramePr>
        <p:xfrm>
          <a:off x="356585" y="1390934"/>
          <a:ext cx="11149615" cy="4296106"/>
        </p:xfrm>
        <a:graphic>
          <a:graphicData uri="http://schemas.openxmlformats.org/drawingml/2006/table">
            <a:tbl>
              <a:tblPr firstRow="1" lastRow="1" bandRow="1">
                <a:tableStyleId>{5C22544A-7EE6-4342-B048-85BDC9FD1C3A}</a:tableStyleId>
              </a:tblPr>
              <a:tblGrid>
                <a:gridCol w="4823702">
                  <a:extLst>
                    <a:ext uri="{9D8B030D-6E8A-4147-A177-3AD203B41FA5}">
                      <a16:colId xmlns:a16="http://schemas.microsoft.com/office/drawing/2014/main" val="2651665098"/>
                    </a:ext>
                  </a:extLst>
                </a:gridCol>
                <a:gridCol w="2338725">
                  <a:extLst>
                    <a:ext uri="{9D8B030D-6E8A-4147-A177-3AD203B41FA5}">
                      <a16:colId xmlns:a16="http://schemas.microsoft.com/office/drawing/2014/main" val="3939455336"/>
                    </a:ext>
                  </a:extLst>
                </a:gridCol>
                <a:gridCol w="1993594">
                  <a:extLst>
                    <a:ext uri="{9D8B030D-6E8A-4147-A177-3AD203B41FA5}">
                      <a16:colId xmlns:a16="http://schemas.microsoft.com/office/drawing/2014/main" val="2226907532"/>
                    </a:ext>
                  </a:extLst>
                </a:gridCol>
                <a:gridCol w="1993594">
                  <a:extLst>
                    <a:ext uri="{9D8B030D-6E8A-4147-A177-3AD203B41FA5}">
                      <a16:colId xmlns:a16="http://schemas.microsoft.com/office/drawing/2014/main" val="2183727549"/>
                    </a:ext>
                  </a:extLst>
                </a:gridCol>
              </a:tblGrid>
              <a:tr h="992626">
                <a:tc>
                  <a:txBody>
                    <a:bodyPr/>
                    <a:lstStyle/>
                    <a:p>
                      <a:pPr algn="l" fontAlgn="ctr"/>
                      <a:r>
                        <a:rPr lang="cs-CZ" dirty="0"/>
                        <a:t>Zdravotničtí pracovníci </a:t>
                      </a:r>
                    </a:p>
                    <a:p>
                      <a:pPr algn="l" fontAlgn="ctr"/>
                      <a:r>
                        <a:rPr lang="cs-CZ" dirty="0"/>
                        <a:t>evidovaní v NZIS**</a:t>
                      </a:r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1" u="none" strike="noStrike" dirty="0">
                          <a:effectLst/>
                        </a:rPr>
                        <a:t>Celkový počet zdravotnických pracovníků**</a:t>
                      </a:r>
                      <a:endParaRPr lang="cs-CZ" sz="18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u="none" strike="noStrike" dirty="0">
                          <a:effectLst/>
                        </a:rPr>
                        <a:t>Počet očkovaných</a:t>
                      </a:r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u="none" strike="noStrike">
                          <a:effectLst/>
                        </a:rPr>
                        <a:t>Podíl očkovaných</a:t>
                      </a:r>
                      <a:endParaRPr lang="cs-CZ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extLst>
                  <a:ext uri="{0D108BD9-81ED-4DB2-BD59-A6C34878D82A}">
                    <a16:rowId xmlns:a16="http://schemas.microsoft.com/office/drawing/2014/main" val="3304470326"/>
                  </a:ext>
                </a:extLst>
              </a:tr>
              <a:tr h="82587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800" b="1" u="none" strike="noStrike" dirty="0">
                          <a:effectLst/>
                        </a:rPr>
                        <a:t>Lékaři </a:t>
                      </a:r>
                    </a:p>
                    <a:p>
                      <a:pPr algn="l" fontAlgn="ctr"/>
                      <a:r>
                        <a:rPr lang="cs-CZ" sz="1400" b="0" u="none" strike="noStrike" dirty="0">
                          <a:effectLst/>
                        </a:rPr>
                        <a:t>(včetně zubních lékařů)*</a:t>
                      </a:r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1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7 79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7 38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3,8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51230907"/>
                  </a:ext>
                </a:extLst>
              </a:tr>
              <a:tr h="82587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800" b="1" u="none" strike="noStrike" dirty="0">
                          <a:effectLst/>
                        </a:rPr>
                        <a:t>Sestry </a:t>
                      </a:r>
                    </a:p>
                    <a:p>
                      <a:pPr algn="l" fontAlgn="ctr"/>
                      <a:r>
                        <a:rPr lang="cs-CZ" sz="1400" b="0" u="none" strike="noStrike" dirty="0">
                          <a:effectLst/>
                        </a:rPr>
                        <a:t>(§ 5 Všeobecná sestra, § 5a Dětská sestra, </a:t>
                      </a:r>
                    </a:p>
                    <a:p>
                      <a:pPr algn="l" fontAlgn="ctr"/>
                      <a:r>
                        <a:rPr lang="cs-CZ" sz="1400" b="0" u="none" strike="noStrike" dirty="0">
                          <a:effectLst/>
                        </a:rPr>
                        <a:t>§ 6 Porodní asistentka, § 21b Praktická sestra)*</a:t>
                      </a:r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1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8 52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0 51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1,1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212447989"/>
                  </a:ext>
                </a:extLst>
              </a:tr>
              <a:tr h="82587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800" b="1" u="none" strike="noStrike" dirty="0">
                          <a:effectLst/>
                        </a:rPr>
                        <a:t>Ostatní zdravotničtí pracovníci </a:t>
                      </a:r>
                    </a:p>
                    <a:p>
                      <a:pPr algn="l" fontAlgn="ctr"/>
                      <a:r>
                        <a:rPr lang="cs-CZ" sz="1400" b="0" u="none" strike="noStrike" dirty="0">
                          <a:effectLst/>
                        </a:rPr>
                        <a:t>(NLZP § 7 až § 42 kromě § 21b, farmaceuti)*</a:t>
                      </a:r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1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9 31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7 18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6,9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018325100"/>
                  </a:ext>
                </a:extLst>
              </a:tr>
              <a:tr h="82587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800" u="none" strike="noStrike" dirty="0">
                          <a:effectLst/>
                        </a:rPr>
                        <a:t>CELKEM</a:t>
                      </a:r>
                      <a:endParaRPr lang="cs-CZ" sz="1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1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365 63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85 07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78,0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34177443"/>
                  </a:ext>
                </a:extLst>
              </a:tr>
            </a:tbl>
          </a:graphicData>
        </a:graphic>
      </p:graphicFrame>
      <p:sp>
        <p:nvSpPr>
          <p:cNvPr id="7" name="TextBox 6">
            <a:extLst>
              <a:ext uri="{FF2B5EF4-FFF2-40B4-BE49-F238E27FC236}">
                <a16:creationId xmlns:a16="http://schemas.microsoft.com/office/drawing/2014/main" id="{0D1107EB-D187-4678-AF28-2A18CAE50957}"/>
              </a:ext>
            </a:extLst>
          </p:cNvPr>
          <p:cNvSpPr txBox="1"/>
          <p:nvPr/>
        </p:nvSpPr>
        <p:spPr>
          <a:xfrm>
            <a:off x="6096000" y="125783"/>
            <a:ext cx="200977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tav k 4. 3. 2022</a:t>
            </a:r>
          </a:p>
        </p:txBody>
      </p:sp>
      <p:sp>
        <p:nvSpPr>
          <p:cNvPr id="8" name="Obdélník 7">
            <a:extLst>
              <a:ext uri="{FF2B5EF4-FFF2-40B4-BE49-F238E27FC236}">
                <a16:creationId xmlns:a16="http://schemas.microsoft.com/office/drawing/2014/main" id="{C6F37292-6D98-4BA4-B894-BD354102F974}"/>
              </a:ext>
            </a:extLst>
          </p:cNvPr>
          <p:cNvSpPr/>
          <p:nvPr/>
        </p:nvSpPr>
        <p:spPr>
          <a:xfrm>
            <a:off x="330707" y="5686170"/>
            <a:ext cx="11454102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 Zákon č. 96/2004 Sb. o podmínkách získávání a uznávání způsobilosti k výkonu nelékařských zdravotnických povolání a k výkonu činnosti souvisejících s poskytováním zdravotní péče a o změně některých souvisejících zákonů (zákon o nelékařských zdravotnických povoláních); Zákona č. 95/2004 Sb. o podmínkách získávání a uznávání odborné způsobilosti a specializované způsobilosti k výkonu zdravotnického povolání lékaře, zubního lékaře a farmaceuta.</a:t>
            </a:r>
          </a:p>
          <a:p>
            <a:pPr lvl="0"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* Počet zdravotnických pracovníků </a:t>
            </a:r>
            <a:r>
              <a:rPr lang="cs-CZ" sz="1100" dirty="0">
                <a:solidFill>
                  <a:srgbClr val="000000"/>
                </a:solidFill>
              </a:rPr>
              <a:t>evidovaných v NZIS (Národní registr zdravotnických pracovníků – NRZP)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 </a:t>
            </a:r>
          </a:p>
        </p:txBody>
      </p:sp>
      <p:sp>
        <p:nvSpPr>
          <p:cNvPr id="4" name="TextovéPole 3"/>
          <p:cNvSpPr txBox="1"/>
          <p:nvPr/>
        </p:nvSpPr>
        <p:spPr>
          <a:xfrm>
            <a:off x="255987" y="618549"/>
            <a:ext cx="11697888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400" dirty="0"/>
              <a:t>Počet zdravotnických pracovníků (ZP) dle hlášení povinných subjektů do NRZP** (vzdělávací instituce, poskytovatelé). Celkový počet ZP zahrnuje osoby s odpovídající odbornou způsobilostí pro výkony ZP* a žijící k danému datu. Tabulka tedy nereflektuje, zda daný ZP skutečně vykonává zdravotnické povolání v ČR. Zahrnuti jsou i ZP v seniorním, důchodovém, věku. </a:t>
            </a:r>
          </a:p>
        </p:txBody>
      </p:sp>
      <p:sp>
        <p:nvSpPr>
          <p:cNvPr id="9" name="Obdélník 8">
            <a:extLst>
              <a:ext uri="{FF2B5EF4-FFF2-40B4-BE49-F238E27FC236}">
                <a16:creationId xmlns:a16="http://schemas.microsoft.com/office/drawing/2014/main" id="{60C7B47A-DD4D-4AD1-9492-34EAE5D35895}"/>
              </a:ext>
            </a:extLst>
          </p:cNvPr>
          <p:cNvSpPr/>
          <p:nvPr/>
        </p:nvSpPr>
        <p:spPr>
          <a:xfrm>
            <a:off x="1733551" y="6575571"/>
            <a:ext cx="8280399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Národní zdravotnický informační sytém (NZIS), ÚZIS ČR; Informační systém infekční nemoci (ISIN) </a:t>
            </a:r>
          </a:p>
        </p:txBody>
      </p:sp>
    </p:spTree>
    <p:extLst>
      <p:ext uri="{BB962C8B-B14F-4D97-AF65-F5344CB8AC3E}">
        <p14:creationId xmlns:p14="http://schemas.microsoft.com/office/powerpoint/2010/main" val="36990047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7785" y="0"/>
            <a:ext cx="7434501" cy="576000"/>
          </a:xfrm>
        </p:spPr>
        <p:txBody>
          <a:bodyPr/>
          <a:lstStyle/>
          <a:p>
            <a:r>
              <a:rPr lang="cs-CZ" dirty="0"/>
              <a:t>Očkovaní </a:t>
            </a:r>
            <a:r>
              <a:rPr lang="cs-CZ" u="sng" dirty="0"/>
              <a:t>aktivní</a:t>
            </a:r>
            <a:r>
              <a:rPr lang="cs-CZ" dirty="0"/>
              <a:t> zdravotničtí pracovníci</a:t>
            </a:r>
          </a:p>
        </p:txBody>
      </p:sp>
      <p:sp>
        <p:nvSpPr>
          <p:cNvPr id="9" name="Obdélník 8">
            <a:extLst>
              <a:ext uri="{FF2B5EF4-FFF2-40B4-BE49-F238E27FC236}">
                <a16:creationId xmlns:a16="http://schemas.microsoft.com/office/drawing/2014/main" id="{B5F8F24A-407C-46C2-BF8F-7094A798CF34}"/>
              </a:ext>
            </a:extLst>
          </p:cNvPr>
          <p:cNvSpPr/>
          <p:nvPr/>
        </p:nvSpPr>
        <p:spPr>
          <a:xfrm>
            <a:off x="331021" y="5689889"/>
            <a:ext cx="11454102" cy="9387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 Zákon č. 96/2004 Sb. o podmínkách získávání a uznávání způsobilosti k výkonu nelékařských zdravotnických povolání a k výkonu činnosti souvisejících s poskytováním zdravotní péče a o změně některých souvisejících zákonů (zákon o nelékařských zdravotnických povoláních); Zákona č. 95/2004 Sb. o podmínkách získávání a uznávání odborné způsobilosti a specializované způsobilosti k výkonu zdravotnického povolání lékaře, zubního lékaře a farmaceuta.</a:t>
            </a:r>
          </a:p>
          <a:p>
            <a:pPr>
              <a:defRPr/>
            </a:pPr>
            <a:r>
              <a:rPr lang="cs-CZ" sz="1100" dirty="0">
                <a:solidFill>
                  <a:srgbClr val="000000"/>
                </a:solidFill>
              </a:rPr>
              <a:t>** Počet zdravotnických pracovníků nahlášených do NZIS (Národní registr zdravotnických pracovníků – NRZP) poskytovateli zdravotních služeb jako aktivní v období od 1.9.2021 do současnosti.</a:t>
            </a:r>
          </a:p>
        </p:txBody>
      </p:sp>
      <p:sp>
        <p:nvSpPr>
          <p:cNvPr id="8" name="TextovéPole 7"/>
          <p:cNvSpPr txBox="1"/>
          <p:nvPr/>
        </p:nvSpPr>
        <p:spPr>
          <a:xfrm>
            <a:off x="309541" y="621246"/>
            <a:ext cx="11561308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400" dirty="0"/>
              <a:t>Počet zdravotnických pracovníků (ZP) dle hlášení povinných subjektů do NRZP** (vzdělávací instituce, poskytovatelé). Celkový počet ZP zahrnuje osoby s odpovídající odbornou způsobilostí pro výkony ZP* a žijící k danému datu. V této analýze jsou zahrnuti ZP, u kterých poskytovatelé zdravotních služeb nahlásili jejich aktivní výkon zaměstnání (v ambulantním sektoru mohou být tyto počty mírně nedohlášené). </a:t>
            </a:r>
          </a:p>
        </p:txBody>
      </p:sp>
      <p:sp>
        <p:nvSpPr>
          <p:cNvPr id="12" name="TextBox 6">
            <a:extLst>
              <a:ext uri="{FF2B5EF4-FFF2-40B4-BE49-F238E27FC236}">
                <a16:creationId xmlns:a16="http://schemas.microsoft.com/office/drawing/2014/main" id="{7A968ED8-B7A5-4B68-AF27-DAE3E4FFEDCD}"/>
              </a:ext>
            </a:extLst>
          </p:cNvPr>
          <p:cNvSpPr txBox="1"/>
          <p:nvPr/>
        </p:nvSpPr>
        <p:spPr>
          <a:xfrm>
            <a:off x="6096000" y="125783"/>
            <a:ext cx="200977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cs-CZ" sz="1600" b="1" dirty="0">
                <a:solidFill>
                  <a:srgbClr val="FFFFFF"/>
                </a:solidFill>
              </a:rPr>
              <a:t>Stav k 4. 3. 2022</a:t>
            </a:r>
          </a:p>
        </p:txBody>
      </p:sp>
      <p:graphicFrame>
        <p:nvGraphicFramePr>
          <p:cNvPr id="13" name="Tabulka 12">
            <a:extLst>
              <a:ext uri="{FF2B5EF4-FFF2-40B4-BE49-F238E27FC236}">
                <a16:creationId xmlns:a16="http://schemas.microsoft.com/office/drawing/2014/main" id="{9EBA9451-7A3F-4EF9-93DD-7094F620D3D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51344893"/>
              </p:ext>
            </p:extLst>
          </p:nvPr>
        </p:nvGraphicFramePr>
        <p:xfrm>
          <a:off x="356585" y="1390934"/>
          <a:ext cx="11273439" cy="4296106"/>
        </p:xfrm>
        <a:graphic>
          <a:graphicData uri="http://schemas.openxmlformats.org/drawingml/2006/table">
            <a:tbl>
              <a:tblPr firstRow="1" lastRow="1" bandRow="1">
                <a:tableStyleId>{5C22544A-7EE6-4342-B048-85BDC9FD1C3A}</a:tableStyleId>
              </a:tblPr>
              <a:tblGrid>
                <a:gridCol w="4877273">
                  <a:extLst>
                    <a:ext uri="{9D8B030D-6E8A-4147-A177-3AD203B41FA5}">
                      <a16:colId xmlns:a16="http://schemas.microsoft.com/office/drawing/2014/main" val="2651665098"/>
                    </a:ext>
                  </a:extLst>
                </a:gridCol>
                <a:gridCol w="2364698">
                  <a:extLst>
                    <a:ext uri="{9D8B030D-6E8A-4147-A177-3AD203B41FA5}">
                      <a16:colId xmlns:a16="http://schemas.microsoft.com/office/drawing/2014/main" val="3939455336"/>
                    </a:ext>
                  </a:extLst>
                </a:gridCol>
                <a:gridCol w="2015734">
                  <a:extLst>
                    <a:ext uri="{9D8B030D-6E8A-4147-A177-3AD203B41FA5}">
                      <a16:colId xmlns:a16="http://schemas.microsoft.com/office/drawing/2014/main" val="2226907532"/>
                    </a:ext>
                  </a:extLst>
                </a:gridCol>
                <a:gridCol w="2015734">
                  <a:extLst>
                    <a:ext uri="{9D8B030D-6E8A-4147-A177-3AD203B41FA5}">
                      <a16:colId xmlns:a16="http://schemas.microsoft.com/office/drawing/2014/main" val="2183727549"/>
                    </a:ext>
                  </a:extLst>
                </a:gridCol>
              </a:tblGrid>
              <a:tr h="992626">
                <a:tc>
                  <a:txBody>
                    <a:bodyPr/>
                    <a:lstStyle/>
                    <a:p>
                      <a:pPr algn="l" fontAlgn="ctr"/>
                      <a:r>
                        <a:rPr lang="cs-CZ" dirty="0"/>
                        <a:t>Zdravotničtí pracovníci </a:t>
                      </a:r>
                    </a:p>
                    <a:p>
                      <a:pPr algn="l" fontAlgn="ctr"/>
                      <a:r>
                        <a:rPr lang="cs-CZ" dirty="0"/>
                        <a:t>evidovaní v NZIS**</a:t>
                      </a:r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1" u="none" strike="noStrike" dirty="0">
                          <a:effectLst/>
                        </a:rPr>
                        <a:t>Počet aktivních zdravotnických pracovníků**</a:t>
                      </a:r>
                      <a:endParaRPr lang="cs-CZ" sz="18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u="none" strike="noStrike" dirty="0">
                          <a:effectLst/>
                        </a:rPr>
                        <a:t>Počet očkovaných</a:t>
                      </a:r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u="none" strike="noStrike">
                          <a:effectLst/>
                        </a:rPr>
                        <a:t>Podíl očkovaných</a:t>
                      </a:r>
                      <a:endParaRPr lang="cs-CZ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extLst>
                  <a:ext uri="{0D108BD9-81ED-4DB2-BD59-A6C34878D82A}">
                    <a16:rowId xmlns:a16="http://schemas.microsoft.com/office/drawing/2014/main" val="3304470326"/>
                  </a:ext>
                </a:extLst>
              </a:tr>
              <a:tr h="82587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800" b="1" u="none" strike="noStrike" dirty="0">
                          <a:effectLst/>
                        </a:rPr>
                        <a:t>Lékaři </a:t>
                      </a:r>
                    </a:p>
                    <a:p>
                      <a:pPr algn="l" fontAlgn="ctr"/>
                      <a:r>
                        <a:rPr lang="cs-CZ" sz="1400" b="0" u="none" strike="noStrike" dirty="0">
                          <a:effectLst/>
                        </a:rPr>
                        <a:t>(včetně zubních lékařů)*</a:t>
                      </a:r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2 29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6 08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8,1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51230907"/>
                  </a:ext>
                </a:extLst>
              </a:tr>
              <a:tr h="82587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800" b="1" u="none" strike="noStrike" dirty="0">
                          <a:effectLst/>
                        </a:rPr>
                        <a:t>Sestry </a:t>
                      </a:r>
                    </a:p>
                    <a:p>
                      <a:pPr algn="l" fontAlgn="ctr"/>
                      <a:r>
                        <a:rPr lang="cs-CZ" sz="1400" b="0" u="none" strike="noStrike" dirty="0">
                          <a:effectLst/>
                        </a:rPr>
                        <a:t>(§ 5 Všeobecná sestra, § 5a Dětská sestra, </a:t>
                      </a:r>
                    </a:p>
                    <a:p>
                      <a:pPr algn="l" fontAlgn="ctr"/>
                      <a:r>
                        <a:rPr lang="cs-CZ" sz="1400" b="0" u="none" strike="noStrike" dirty="0">
                          <a:effectLst/>
                        </a:rPr>
                        <a:t>§ 6 Porodní asistentka, § 21b Praktická sestra)*</a:t>
                      </a:r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5 29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8 38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3,9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212447989"/>
                  </a:ext>
                </a:extLst>
              </a:tr>
              <a:tr h="82587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800" b="1" u="none" strike="noStrike" dirty="0">
                          <a:effectLst/>
                        </a:rPr>
                        <a:t>Ostatní zdravotničtí pracovníci </a:t>
                      </a:r>
                    </a:p>
                    <a:p>
                      <a:pPr algn="l" fontAlgn="ctr"/>
                      <a:r>
                        <a:rPr lang="cs-CZ" sz="1400" b="0" u="none" strike="noStrike" dirty="0">
                          <a:effectLst/>
                        </a:rPr>
                        <a:t>(NLZP § 7 až § 42 kromě § 21b, farmaceuti)*</a:t>
                      </a:r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2 48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5 10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1,2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018325100"/>
                  </a:ext>
                </a:extLst>
              </a:tr>
              <a:tr h="82587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800" u="none" strike="noStrike" dirty="0">
                          <a:effectLst/>
                        </a:rPr>
                        <a:t>CELKEM</a:t>
                      </a:r>
                      <a:endParaRPr lang="cs-CZ" sz="1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1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50 07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09 57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83,8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34177443"/>
                  </a:ext>
                </a:extLst>
              </a:tr>
            </a:tbl>
          </a:graphicData>
        </a:graphic>
      </p:graphicFrame>
      <p:sp>
        <p:nvSpPr>
          <p:cNvPr id="14" name="Obdélník 13">
            <a:extLst>
              <a:ext uri="{FF2B5EF4-FFF2-40B4-BE49-F238E27FC236}">
                <a16:creationId xmlns:a16="http://schemas.microsoft.com/office/drawing/2014/main" id="{F04ED3AE-021E-41E6-820F-16896A92FE56}"/>
              </a:ext>
            </a:extLst>
          </p:cNvPr>
          <p:cNvSpPr/>
          <p:nvPr/>
        </p:nvSpPr>
        <p:spPr>
          <a:xfrm>
            <a:off x="1733551" y="6575571"/>
            <a:ext cx="8280399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Národní zdravotnický informační sytém (NZIS), ÚZIS ČR; Informační systém infekční nemoci (ISIN) </a:t>
            </a:r>
          </a:p>
        </p:txBody>
      </p:sp>
    </p:spTree>
    <p:extLst>
      <p:ext uri="{BB962C8B-B14F-4D97-AF65-F5344CB8AC3E}">
        <p14:creationId xmlns:p14="http://schemas.microsoft.com/office/powerpoint/2010/main" val="207823012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7785" y="0"/>
            <a:ext cx="7434501" cy="576000"/>
          </a:xfrm>
        </p:spPr>
        <p:txBody>
          <a:bodyPr/>
          <a:lstStyle/>
          <a:p>
            <a:r>
              <a:rPr lang="cs-CZ" sz="1800" dirty="0"/>
              <a:t>Očkování zdravotnických pracovníků – počty očkovaných v čase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835D0792-DA3D-4697-90DD-E7E191A14A9B}"/>
              </a:ext>
            </a:extLst>
          </p:cNvPr>
          <p:cNvSpPr txBox="1"/>
          <p:nvPr/>
        </p:nvSpPr>
        <p:spPr>
          <a:xfrm rot="16200000">
            <a:off x="-2049215" y="2820163"/>
            <a:ext cx="468180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umulativní počet očkovaných (alespoň první dávka)</a:t>
            </a:r>
          </a:p>
        </p:txBody>
      </p:sp>
      <p:graphicFrame>
        <p:nvGraphicFramePr>
          <p:cNvPr id="9" name="Graf 8">
            <a:extLst>
              <a:ext uri="{FF2B5EF4-FFF2-40B4-BE49-F238E27FC236}">
                <a16:creationId xmlns:a16="http://schemas.microsoft.com/office/drawing/2014/main" id="{FDFE61B8-F449-4A66-9A16-364371C6A084}"/>
              </a:ext>
            </a:extLst>
          </p:cNvPr>
          <p:cNvGraphicFramePr/>
          <p:nvPr/>
        </p:nvGraphicFramePr>
        <p:xfrm>
          <a:off x="561974" y="759913"/>
          <a:ext cx="11377929" cy="498812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1" name="Tabulka 10">
            <a:extLst>
              <a:ext uri="{FF2B5EF4-FFF2-40B4-BE49-F238E27FC236}">
                <a16:creationId xmlns:a16="http://schemas.microsoft.com/office/drawing/2014/main" id="{35619201-FB04-4641-AC77-14154175A615}"/>
              </a:ext>
            </a:extLst>
          </p:cNvPr>
          <p:cNvGraphicFramePr>
            <a:graphicFrameLocks noGrp="1"/>
          </p:cNvGraphicFramePr>
          <p:nvPr/>
        </p:nvGraphicFramePr>
        <p:xfrm>
          <a:off x="10344150" y="2181222"/>
          <a:ext cx="1595753" cy="2352680"/>
        </p:xfrm>
        <a:graphic>
          <a:graphicData uri="http://schemas.openxmlformats.org/drawingml/2006/table">
            <a:tbl>
              <a:tblPr/>
              <a:tblGrid>
                <a:gridCol w="994535">
                  <a:extLst>
                    <a:ext uri="{9D8B030D-6E8A-4147-A177-3AD203B41FA5}">
                      <a16:colId xmlns:a16="http://schemas.microsoft.com/office/drawing/2014/main" val="2493138386"/>
                    </a:ext>
                  </a:extLst>
                </a:gridCol>
                <a:gridCol w="601218">
                  <a:extLst>
                    <a:ext uri="{9D8B030D-6E8A-4147-A177-3AD203B41FA5}">
                      <a16:colId xmlns:a16="http://schemas.microsoft.com/office/drawing/2014/main" val="477226283"/>
                    </a:ext>
                  </a:extLst>
                </a:gridCol>
              </a:tblGrid>
              <a:tr h="58817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ZP celkem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85 07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61664348"/>
                  </a:ext>
                </a:extLst>
              </a:tr>
              <a:tr h="58817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Sestry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0 51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80816711"/>
                  </a:ext>
                </a:extLst>
              </a:tr>
              <a:tr h="58817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Ostatní ZP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7 18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51517692"/>
                  </a:ext>
                </a:extLst>
              </a:tr>
              <a:tr h="58817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Lékaři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7 38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161812"/>
                  </a:ext>
                </a:extLst>
              </a:tr>
            </a:tbl>
          </a:graphicData>
        </a:graphic>
      </p:graphicFrame>
      <p:sp>
        <p:nvSpPr>
          <p:cNvPr id="7" name="Obdélník 6">
            <a:extLst>
              <a:ext uri="{FF2B5EF4-FFF2-40B4-BE49-F238E27FC236}">
                <a16:creationId xmlns:a16="http://schemas.microsoft.com/office/drawing/2014/main" id="{25C2658B-5F4D-4E25-809A-B07FC20B8E8A}"/>
              </a:ext>
            </a:extLst>
          </p:cNvPr>
          <p:cNvSpPr/>
          <p:nvPr/>
        </p:nvSpPr>
        <p:spPr>
          <a:xfrm>
            <a:off x="1752601" y="6566046"/>
            <a:ext cx="8280399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Národní zdravotnický informační sytém (NZIS), ÚZIS ČR; Informační systém infekční nemoci (ISIN) </a:t>
            </a:r>
          </a:p>
        </p:txBody>
      </p:sp>
      <p:sp>
        <p:nvSpPr>
          <p:cNvPr id="8" name="TextovéPole 7">
            <a:extLst>
              <a:ext uri="{FF2B5EF4-FFF2-40B4-BE49-F238E27FC236}">
                <a16:creationId xmlns:a16="http://schemas.microsoft.com/office/drawing/2014/main" id="{70397ABA-C686-444D-9A37-CA5AF71FAD64}"/>
              </a:ext>
            </a:extLst>
          </p:cNvPr>
          <p:cNvSpPr txBox="1"/>
          <p:nvPr/>
        </p:nvSpPr>
        <p:spPr>
          <a:xfrm>
            <a:off x="257785" y="5774033"/>
            <a:ext cx="11800865" cy="8463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100" dirty="0"/>
              <a:t>Zahrnuty jsou zdravotničtí pracovníci (ZP) podle hlášení povinných subjektů do NRZP (vzdělávací instituce, poskytovatelé). Celkový počet ZP zahrnuje osoby s odpovídající odbornou způsobilostí pro výkony povolání ZP* žijící k danému datu. Výstup nezohledňuje, zda daný ZP skutečně vykonává dané povolání v ČR. Zahrnuti jsou i ZP v seniorním, důchodovém, věku.</a:t>
            </a:r>
          </a:p>
          <a:p>
            <a:r>
              <a:rPr lang="cs-CZ" sz="900" dirty="0"/>
              <a:t>* Zákon č. 96/2004 Sb. o podmínkách získávání a uznávání způsobilosti k výkonu nelékařských zdravotnických povolání a k výkonu činnosti souvisejících s poskytováním zdravotní péče a o změně některých souvisejících zákonů (zákon o nelékařských zdravotnických povoláních); Zákona č. 95/2004 Sb. o podmínkách získávání a uznávání odborné způsobilosti a specializované způsobilosti k výkonu zdravotnického povolání lékaře, zubního lékaře a farmaceuta.</a:t>
            </a:r>
          </a:p>
        </p:txBody>
      </p:sp>
    </p:spTree>
    <p:extLst>
      <p:ext uri="{BB962C8B-B14F-4D97-AF65-F5344CB8AC3E}">
        <p14:creationId xmlns:p14="http://schemas.microsoft.com/office/powerpoint/2010/main" val="379066589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7785" y="0"/>
            <a:ext cx="7434501" cy="576000"/>
          </a:xfrm>
        </p:spPr>
        <p:txBody>
          <a:bodyPr/>
          <a:lstStyle/>
          <a:p>
            <a:r>
              <a:rPr lang="cs-CZ" dirty="0"/>
              <a:t>Vakcinace posilující dávkou</a:t>
            </a:r>
          </a:p>
        </p:txBody>
      </p:sp>
      <p:sp>
        <p:nvSpPr>
          <p:cNvPr id="5" name="TextBox 6">
            <a:extLst>
              <a:ext uri="{FF2B5EF4-FFF2-40B4-BE49-F238E27FC236}">
                <a16:creationId xmlns:a16="http://schemas.microsoft.com/office/drawing/2014/main" id="{FC5F43CD-61A6-4942-B1EB-1AFAC38D4C4A}"/>
              </a:ext>
            </a:extLst>
          </p:cNvPr>
          <p:cNvSpPr txBox="1"/>
          <p:nvPr/>
        </p:nvSpPr>
        <p:spPr>
          <a:xfrm>
            <a:off x="5686425" y="103334"/>
            <a:ext cx="23717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>
                <a:solidFill>
                  <a:schemeClr val="bg1"/>
                </a:solidFill>
              </a:rPr>
              <a:t>Stav k </a:t>
            </a:r>
            <a:r>
              <a:rPr lang="cs-CZ" b="1" dirty="0">
                <a:solidFill>
                  <a:srgbClr val="FFFFFF"/>
                </a:solidFill>
              </a:rPr>
              <a:t>4. 3. 2022</a:t>
            </a:r>
            <a:endParaRPr lang="cs-CZ" b="1" dirty="0">
              <a:solidFill>
                <a:schemeClr val="bg1"/>
              </a:solidFill>
            </a:endParaRPr>
          </a:p>
        </p:txBody>
      </p:sp>
      <p:sp>
        <p:nvSpPr>
          <p:cNvPr id="3" name="Obdélník 2">
            <a:extLst>
              <a:ext uri="{FF2B5EF4-FFF2-40B4-BE49-F238E27FC236}">
                <a16:creationId xmlns:a16="http://schemas.microsoft.com/office/drawing/2014/main" id="{05F5D353-1230-45A8-9016-8A9D8618F6E5}"/>
              </a:ext>
            </a:extLst>
          </p:cNvPr>
          <p:cNvSpPr/>
          <p:nvPr/>
        </p:nvSpPr>
        <p:spPr>
          <a:xfrm>
            <a:off x="252076" y="600164"/>
            <a:ext cx="353173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cs-CZ" b="1" dirty="0"/>
              <a:t>Aktivní zdravotničtí pracovníci</a:t>
            </a:r>
          </a:p>
        </p:txBody>
      </p:sp>
      <p:sp>
        <p:nvSpPr>
          <p:cNvPr id="9" name="TextovéPole 8">
            <a:extLst>
              <a:ext uri="{FF2B5EF4-FFF2-40B4-BE49-F238E27FC236}">
                <a16:creationId xmlns:a16="http://schemas.microsoft.com/office/drawing/2014/main" id="{442B2FDB-F20E-40AA-ADF4-05FC4E7F4BF6}"/>
              </a:ext>
            </a:extLst>
          </p:cNvPr>
          <p:cNvSpPr txBox="1"/>
          <p:nvPr/>
        </p:nvSpPr>
        <p:spPr>
          <a:xfrm>
            <a:off x="252076" y="6023223"/>
            <a:ext cx="11561308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100" dirty="0"/>
              <a:t>Počet zdravotnických pracovníků (ZP) dle hlášení povinných subjektů do Národního registru zdravotnických pracovníků – NRZP (vzdělávací instituce, poskytovatelé). Celkový počet ZP zahrnuje osoby s odpovídající odbornou způsobilostí pro výkony ZP a žijící k danému datu. V této analýze jsou zahrnuti ZP, u kterých poskytovatelé zdravotních služeb nahlásili jejich aktivní výkon zaměstnání </a:t>
            </a:r>
            <a:r>
              <a:rPr lang="pl-PL" sz="1100" dirty="0"/>
              <a:t>v období od 1.9.2021 do současnosti </a:t>
            </a:r>
            <a:r>
              <a:rPr lang="cs-CZ" sz="1100" dirty="0"/>
              <a:t>(v ambulantním sektoru mohou být tyto počty mírně nedohlášené). </a:t>
            </a:r>
          </a:p>
        </p:txBody>
      </p:sp>
      <p:sp>
        <p:nvSpPr>
          <p:cNvPr id="12" name="Obdélník 11">
            <a:extLst>
              <a:ext uri="{FF2B5EF4-FFF2-40B4-BE49-F238E27FC236}">
                <a16:creationId xmlns:a16="http://schemas.microsoft.com/office/drawing/2014/main" id="{07918BD6-47A7-4629-B00F-7C350B485540}"/>
              </a:ext>
            </a:extLst>
          </p:cNvPr>
          <p:cNvSpPr/>
          <p:nvPr/>
        </p:nvSpPr>
        <p:spPr>
          <a:xfrm>
            <a:off x="1752601" y="6566046"/>
            <a:ext cx="8280399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Národní zdravotnický informační sytém (NZIS), ÚZIS ČR; Informační systém infekční nemoci (ISIN) </a:t>
            </a:r>
          </a:p>
        </p:txBody>
      </p:sp>
      <p:sp>
        <p:nvSpPr>
          <p:cNvPr id="13" name="Obdélník 12">
            <a:extLst>
              <a:ext uri="{FF2B5EF4-FFF2-40B4-BE49-F238E27FC236}">
                <a16:creationId xmlns:a16="http://schemas.microsoft.com/office/drawing/2014/main" id="{0106F417-40A8-41A4-A3D6-B22D419501BE}"/>
              </a:ext>
            </a:extLst>
          </p:cNvPr>
          <p:cNvSpPr/>
          <p:nvPr/>
        </p:nvSpPr>
        <p:spPr>
          <a:xfrm>
            <a:off x="252076" y="5668681"/>
            <a:ext cx="9158276" cy="43088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cs-CZ" sz="1100" dirty="0"/>
              <a:t>* Přeočkování posilující dávkou je možné pro osoby, které mají nejméně 6 měsíců (v této analýze 182 dnů) po aplikaci ukončovací (druhé) dávky.</a:t>
            </a:r>
          </a:p>
          <a:p>
            <a:r>
              <a:rPr lang="cs-CZ" sz="1100" dirty="0"/>
              <a:t>** Jeden zdravotnický pracovník může působit ve více krajích, do celkového počtu je zahrnut pouze jednou. </a:t>
            </a:r>
          </a:p>
        </p:txBody>
      </p:sp>
      <p:graphicFrame>
        <p:nvGraphicFramePr>
          <p:cNvPr id="10" name="Table 2">
            <a:extLst>
              <a:ext uri="{FF2B5EF4-FFF2-40B4-BE49-F238E27FC236}">
                <a16:creationId xmlns:a16="http://schemas.microsoft.com/office/drawing/2014/main" id="{300A08B3-B18A-4DE9-97BC-1912730507AF}"/>
              </a:ext>
            </a:extLst>
          </p:cNvPr>
          <p:cNvGraphicFramePr>
            <a:graphicFrameLocks noGrp="1"/>
          </p:cNvGraphicFramePr>
          <p:nvPr/>
        </p:nvGraphicFramePr>
        <p:xfrm>
          <a:off x="315344" y="958340"/>
          <a:ext cx="11561311" cy="4698672"/>
        </p:xfrm>
        <a:graphic>
          <a:graphicData uri="http://schemas.openxmlformats.org/drawingml/2006/table">
            <a:tbl>
              <a:tblPr firstRow="1" lastRow="1" bandRow="1">
                <a:tableStyleId>{74C1A8A3-306A-4EB7-A6B1-4F7E0EB9C5D6}</a:tableStyleId>
              </a:tblPr>
              <a:tblGrid>
                <a:gridCol w="1744287">
                  <a:extLst>
                    <a:ext uri="{9D8B030D-6E8A-4147-A177-3AD203B41FA5}">
                      <a16:colId xmlns:a16="http://schemas.microsoft.com/office/drawing/2014/main" val="2523158226"/>
                    </a:ext>
                  </a:extLst>
                </a:gridCol>
                <a:gridCol w="1227128">
                  <a:extLst>
                    <a:ext uri="{9D8B030D-6E8A-4147-A177-3AD203B41FA5}">
                      <a16:colId xmlns:a16="http://schemas.microsoft.com/office/drawing/2014/main" val="1593569998"/>
                    </a:ext>
                  </a:extLst>
                </a:gridCol>
                <a:gridCol w="613564">
                  <a:extLst>
                    <a:ext uri="{9D8B030D-6E8A-4147-A177-3AD203B41FA5}">
                      <a16:colId xmlns:a16="http://schemas.microsoft.com/office/drawing/2014/main" val="3216406433"/>
                    </a:ext>
                  </a:extLst>
                </a:gridCol>
                <a:gridCol w="613564">
                  <a:extLst>
                    <a:ext uri="{9D8B030D-6E8A-4147-A177-3AD203B41FA5}">
                      <a16:colId xmlns:a16="http://schemas.microsoft.com/office/drawing/2014/main" val="10018221"/>
                    </a:ext>
                  </a:extLst>
                </a:gridCol>
                <a:gridCol w="1227128">
                  <a:extLst>
                    <a:ext uri="{9D8B030D-6E8A-4147-A177-3AD203B41FA5}">
                      <a16:colId xmlns:a16="http://schemas.microsoft.com/office/drawing/2014/main" val="1759659700"/>
                    </a:ext>
                  </a:extLst>
                </a:gridCol>
                <a:gridCol w="613564">
                  <a:extLst>
                    <a:ext uri="{9D8B030D-6E8A-4147-A177-3AD203B41FA5}">
                      <a16:colId xmlns:a16="http://schemas.microsoft.com/office/drawing/2014/main" val="2767492860"/>
                    </a:ext>
                  </a:extLst>
                </a:gridCol>
                <a:gridCol w="613564">
                  <a:extLst>
                    <a:ext uri="{9D8B030D-6E8A-4147-A177-3AD203B41FA5}">
                      <a16:colId xmlns:a16="http://schemas.microsoft.com/office/drawing/2014/main" val="2826083769"/>
                    </a:ext>
                  </a:extLst>
                </a:gridCol>
                <a:gridCol w="1227128">
                  <a:extLst>
                    <a:ext uri="{9D8B030D-6E8A-4147-A177-3AD203B41FA5}">
                      <a16:colId xmlns:a16="http://schemas.microsoft.com/office/drawing/2014/main" val="773291409"/>
                    </a:ext>
                  </a:extLst>
                </a:gridCol>
                <a:gridCol w="613564">
                  <a:extLst>
                    <a:ext uri="{9D8B030D-6E8A-4147-A177-3AD203B41FA5}">
                      <a16:colId xmlns:a16="http://schemas.microsoft.com/office/drawing/2014/main" val="3497186403"/>
                    </a:ext>
                  </a:extLst>
                </a:gridCol>
                <a:gridCol w="613564">
                  <a:extLst>
                    <a:ext uri="{9D8B030D-6E8A-4147-A177-3AD203B41FA5}">
                      <a16:colId xmlns:a16="http://schemas.microsoft.com/office/drawing/2014/main" val="2413921439"/>
                    </a:ext>
                  </a:extLst>
                </a:gridCol>
                <a:gridCol w="1227128">
                  <a:extLst>
                    <a:ext uri="{9D8B030D-6E8A-4147-A177-3AD203B41FA5}">
                      <a16:colId xmlns:a16="http://schemas.microsoft.com/office/drawing/2014/main" val="843981191"/>
                    </a:ext>
                  </a:extLst>
                </a:gridCol>
                <a:gridCol w="613564">
                  <a:extLst>
                    <a:ext uri="{9D8B030D-6E8A-4147-A177-3AD203B41FA5}">
                      <a16:colId xmlns:a16="http://schemas.microsoft.com/office/drawing/2014/main" val="3182885545"/>
                    </a:ext>
                  </a:extLst>
                </a:gridCol>
                <a:gridCol w="613564">
                  <a:extLst>
                    <a:ext uri="{9D8B030D-6E8A-4147-A177-3AD203B41FA5}">
                      <a16:colId xmlns:a16="http://schemas.microsoft.com/office/drawing/2014/main" val="3067111112"/>
                    </a:ext>
                  </a:extLst>
                </a:gridCol>
              </a:tblGrid>
              <a:tr h="613647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Zdravotničtí pracovníci </a:t>
                      </a:r>
                    </a:p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CELKEM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Lékaři </a:t>
                      </a:r>
                    </a:p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(včetně zubních lékařů)</a:t>
                      </a:r>
                      <a:endParaRPr lang="cs-CZ" sz="12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Sestry</a:t>
                      </a:r>
                      <a:r>
                        <a:rPr lang="cs-CZ" sz="1000" b="1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</a:t>
                      </a:r>
                    </a:p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(§ 5 Všeobecná sestra, § 5a Dětská sestra, § 6 Porodní asistentka, § 21b Praktická sestra)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Ostatní zdravotničtí pracovníci </a:t>
                      </a:r>
                    </a:p>
                    <a:p>
                      <a:pPr algn="ctr" fontAlgn="ctr"/>
                      <a:r>
                        <a:rPr lang="cs-CZ" sz="10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(NLZP § 7 až § 42 kromě § 21b, farmaceuti)</a:t>
                      </a:r>
                      <a:endParaRPr lang="cs-CZ" sz="12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43287447"/>
                  </a:ext>
                </a:extLst>
              </a:tr>
              <a:tr h="600991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Kraj podle místa působení**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Počet osob s nárokem na posilující dávku*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Osoby s posilující dávkou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Počet osob s nárokem na posilující dávku*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Osoby s posilující dávkou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Počet osob s nárokem na posilující dávku*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Osoby s posilující dávkou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Počet osob s nárokem na posilující dávku*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Osoby s posilující dávkou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93062634"/>
                  </a:ext>
                </a:extLst>
              </a:tr>
              <a:tr h="23099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u="none" strike="noStrike" dirty="0">
                          <a:effectLst/>
                        </a:rPr>
                        <a:t>Hlavní město Praha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0 01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2 70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1,7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77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59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9,0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 45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 47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0,7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 78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63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7,1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776035022"/>
                  </a:ext>
                </a:extLst>
              </a:tr>
              <a:tr h="23099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u="none" strike="noStrike" dirty="0">
                          <a:effectLst/>
                        </a:rPr>
                        <a:t>Středočeský kraj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 73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 51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2,8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56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12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0,4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70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27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1,4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46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11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9,2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1848947671"/>
                  </a:ext>
                </a:extLst>
              </a:tr>
              <a:tr h="23099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u="none" strike="noStrike">
                          <a:effectLst/>
                        </a:rPr>
                        <a:t>Jihočeský kraj</a:t>
                      </a:r>
                      <a:endParaRPr lang="cs-CZ" sz="120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 04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88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0,5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54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25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8,5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66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70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9,4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83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92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6,4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3844333786"/>
                  </a:ext>
                </a:extLst>
              </a:tr>
              <a:tr h="23099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u="none" strike="noStrike">
                          <a:effectLst/>
                        </a:rPr>
                        <a:t>Plzeňský kraj</a:t>
                      </a:r>
                      <a:endParaRPr lang="cs-CZ" sz="120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 48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20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0,1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78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46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8,5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55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59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8,8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14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14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5,9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1443186940"/>
                  </a:ext>
                </a:extLst>
              </a:tr>
              <a:tr h="23099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u="none" strike="noStrike" dirty="0">
                          <a:effectLst/>
                        </a:rPr>
                        <a:t>Karlovarský kraj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28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43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3,9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07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8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1,2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11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82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6,2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09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63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7,9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4247044073"/>
                  </a:ext>
                </a:extLst>
              </a:tr>
              <a:tr h="23099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u="none" strike="noStrike">
                          <a:effectLst/>
                        </a:rPr>
                        <a:t>Ústecký kraj</a:t>
                      </a:r>
                      <a:endParaRPr lang="cs-CZ" sz="120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 58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 27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3,0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74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46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9,7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79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83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3,4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05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98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8,8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2024894236"/>
                  </a:ext>
                </a:extLst>
              </a:tr>
              <a:tr h="23099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u="none" strike="noStrike" dirty="0">
                          <a:effectLst/>
                        </a:rPr>
                        <a:t>Liberecký kraj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89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60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1,4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62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45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9,4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81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27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0,7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45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88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6,9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428109536"/>
                  </a:ext>
                </a:extLst>
              </a:tr>
              <a:tr h="23099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u="none" strike="noStrike" dirty="0">
                          <a:effectLst/>
                        </a:rPr>
                        <a:t>Královéhradecký kraj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73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59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0,1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50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23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9,1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62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66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9,1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59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69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4,9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519525594"/>
                  </a:ext>
                </a:extLst>
              </a:tr>
              <a:tr h="23099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u="none" strike="noStrike" dirty="0">
                          <a:effectLst/>
                        </a:rPr>
                        <a:t>Pardubický kraj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36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45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7,2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95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69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6,6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59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71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5,6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81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04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2,7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1350366277"/>
                  </a:ext>
                </a:extLst>
              </a:tr>
              <a:tr h="23099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u="none" strike="noStrike" dirty="0">
                          <a:effectLst/>
                        </a:rPr>
                        <a:t>Kraj Vysočina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16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48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1,7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89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73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1,6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31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50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1,2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95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24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5,9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372557106"/>
                  </a:ext>
                </a:extLst>
              </a:tr>
              <a:tr h="23099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u="none" strike="noStrike" dirty="0">
                          <a:effectLst/>
                        </a:rPr>
                        <a:t>Jihomoravský kraj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 48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 64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9,4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60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96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8,6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52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50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8,8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35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16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3,9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4127962169"/>
                  </a:ext>
                </a:extLst>
              </a:tr>
              <a:tr h="23099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u="none" strike="noStrike" dirty="0">
                          <a:effectLst/>
                        </a:rPr>
                        <a:t>Olomoucký kraj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 92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05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6,0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10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65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5,4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90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66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4,6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90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74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0,3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893644269"/>
                  </a:ext>
                </a:extLst>
              </a:tr>
              <a:tr h="23099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u="none" strike="noStrike" dirty="0">
                          <a:effectLst/>
                        </a:rPr>
                        <a:t>Zlínský kraj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25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13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7,1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19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92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7,8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06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02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4,3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99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19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3,1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3556090642"/>
                  </a:ext>
                </a:extLst>
              </a:tr>
              <a:tr h="233556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u="none" strike="noStrike" dirty="0">
                          <a:effectLst/>
                        </a:rPr>
                        <a:t>Moravskoslezský kraj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 86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 64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6,1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83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18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6,4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00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80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5,5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01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66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0,6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28310195"/>
                  </a:ext>
                </a:extLst>
              </a:tr>
              <a:tr h="221162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u="none" strike="noStrike" dirty="0">
                          <a:effectLst/>
                        </a:rPr>
                        <a:t>CELKEM**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4 79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5 71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9,9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4 23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9 16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8,5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1 46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4 54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9,2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9 09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2 00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5,3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197648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26554786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7785" y="0"/>
            <a:ext cx="7434501" cy="576000"/>
          </a:xfrm>
        </p:spPr>
        <p:txBody>
          <a:bodyPr/>
          <a:lstStyle/>
          <a:p>
            <a:r>
              <a:rPr lang="cs-CZ" dirty="0"/>
              <a:t>Očkovaní </a:t>
            </a:r>
            <a:r>
              <a:rPr lang="cs-CZ" u="sng" dirty="0"/>
              <a:t>aktivní</a:t>
            </a:r>
            <a:r>
              <a:rPr lang="cs-CZ" dirty="0"/>
              <a:t> zdravotničtí pracovníci</a:t>
            </a:r>
          </a:p>
        </p:txBody>
      </p:sp>
      <p:sp>
        <p:nvSpPr>
          <p:cNvPr id="9" name="Obdélník 8">
            <a:extLst>
              <a:ext uri="{FF2B5EF4-FFF2-40B4-BE49-F238E27FC236}">
                <a16:creationId xmlns:a16="http://schemas.microsoft.com/office/drawing/2014/main" id="{B5F8F24A-407C-46C2-BF8F-7094A798CF34}"/>
              </a:ext>
            </a:extLst>
          </p:cNvPr>
          <p:cNvSpPr/>
          <p:nvPr/>
        </p:nvSpPr>
        <p:spPr>
          <a:xfrm>
            <a:off x="311971" y="5699414"/>
            <a:ext cx="11454102" cy="9387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 Zákon č. 96/2004 Sb. o podmínkách získávání a uznávání způsobilosti k výkonu nelékařských zdravotnických povolání a k výkonu činnosti souvisejících s poskytováním zdravotní péče a o změně některých souvisejících zákonů (zákon o nelékařských zdravotnických povoláních); Zákona č. 95/2004 Sb. o podmínkách získávání a uznávání odborné způsobilosti a specializované způsobilosti k výkonu zdravotnického povolání lékaře, zubního lékaře a farmaceuta.</a:t>
            </a:r>
          </a:p>
          <a:p>
            <a:pPr>
              <a:defRPr/>
            </a:pPr>
            <a:r>
              <a:rPr lang="cs-CZ" sz="1100" dirty="0">
                <a:solidFill>
                  <a:srgbClr val="000000"/>
                </a:solidFill>
              </a:rPr>
              <a:t>** Počet zdravotnických pracovníků nahlášených do NZIS (Národní registr zdravotnických pracovníků – NRZP) poskytovateli zdravotních služeb jako aktivní v období od 1.9.2021 do současnosti. Jedna osoba může být evidována na více typech pracovních pozic uvedených ve výstupu, v celkovém součtu je zahrnuta pouze jednou.</a:t>
            </a:r>
          </a:p>
        </p:txBody>
      </p:sp>
      <p:sp>
        <p:nvSpPr>
          <p:cNvPr id="8" name="TextovéPole 7"/>
          <p:cNvSpPr txBox="1"/>
          <p:nvPr/>
        </p:nvSpPr>
        <p:spPr>
          <a:xfrm>
            <a:off x="337535" y="592671"/>
            <a:ext cx="1145410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dirty="0"/>
              <a:t>Počet zdravotnických pracovníků (ZP) dle hlášení povinných subjektů do NRZP** (vzdělávací instituce, poskytovatelé). Celkový počet ZP zahrnuje osoby s odpovídající odbornou způsobilostí pro výkony ZP* a žijící k danému datu. V této analýze jsou zahrnuti ZP, u kterých poskytovatelé zdravotních služeb nahlásili jejich aktivní výkon zaměstnání. </a:t>
            </a:r>
          </a:p>
        </p:txBody>
      </p:sp>
      <p:sp>
        <p:nvSpPr>
          <p:cNvPr id="12" name="TextBox 6">
            <a:extLst>
              <a:ext uri="{FF2B5EF4-FFF2-40B4-BE49-F238E27FC236}">
                <a16:creationId xmlns:a16="http://schemas.microsoft.com/office/drawing/2014/main" id="{7A968ED8-B7A5-4B68-AF27-DAE3E4FFEDCD}"/>
              </a:ext>
            </a:extLst>
          </p:cNvPr>
          <p:cNvSpPr txBox="1"/>
          <p:nvPr/>
        </p:nvSpPr>
        <p:spPr>
          <a:xfrm>
            <a:off x="6096000" y="125783"/>
            <a:ext cx="200977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cs-CZ" sz="1600" b="1" dirty="0">
                <a:solidFill>
                  <a:srgbClr val="FFFFFF"/>
                </a:solidFill>
              </a:rPr>
              <a:t>Stav k 4. 3. 2022</a:t>
            </a:r>
          </a:p>
        </p:txBody>
      </p:sp>
      <p:sp>
        <p:nvSpPr>
          <p:cNvPr id="14" name="Obdélník 13">
            <a:extLst>
              <a:ext uri="{FF2B5EF4-FFF2-40B4-BE49-F238E27FC236}">
                <a16:creationId xmlns:a16="http://schemas.microsoft.com/office/drawing/2014/main" id="{F04ED3AE-021E-41E6-820F-16896A92FE56}"/>
              </a:ext>
            </a:extLst>
          </p:cNvPr>
          <p:cNvSpPr/>
          <p:nvPr/>
        </p:nvSpPr>
        <p:spPr>
          <a:xfrm>
            <a:off x="1733551" y="6594621"/>
            <a:ext cx="8280399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Národní zdravotnický informační sytém (NZIS), ÚZIS ČR; Informační systém infekční nemoci (ISIN) </a:t>
            </a:r>
          </a:p>
        </p:txBody>
      </p:sp>
      <p:graphicFrame>
        <p:nvGraphicFramePr>
          <p:cNvPr id="10" name="Tabulka 9">
            <a:extLst>
              <a:ext uri="{FF2B5EF4-FFF2-40B4-BE49-F238E27FC236}">
                <a16:creationId xmlns:a16="http://schemas.microsoft.com/office/drawing/2014/main" id="{36579048-BB0C-4A41-91BF-EE6AEF0D2553}"/>
              </a:ext>
            </a:extLst>
          </p:cNvPr>
          <p:cNvGraphicFramePr>
            <a:graphicFrameLocks noGrp="1"/>
          </p:cNvGraphicFramePr>
          <p:nvPr/>
        </p:nvGraphicFramePr>
        <p:xfrm>
          <a:off x="337535" y="1200434"/>
          <a:ext cx="11516932" cy="4496159"/>
        </p:xfrm>
        <a:graphic>
          <a:graphicData uri="http://schemas.openxmlformats.org/drawingml/2006/table">
            <a:tbl>
              <a:tblPr firstRow="1" lastRow="1" bandRow="1">
                <a:tableStyleId>{5C22544A-7EE6-4342-B048-85BDC9FD1C3A}</a:tableStyleId>
              </a:tblPr>
              <a:tblGrid>
                <a:gridCol w="2910490">
                  <a:extLst>
                    <a:ext uri="{9D8B030D-6E8A-4147-A177-3AD203B41FA5}">
                      <a16:colId xmlns:a16="http://schemas.microsoft.com/office/drawing/2014/main" val="2651665098"/>
                    </a:ext>
                  </a:extLst>
                </a:gridCol>
                <a:gridCol w="1104900">
                  <a:extLst>
                    <a:ext uri="{9D8B030D-6E8A-4147-A177-3AD203B41FA5}">
                      <a16:colId xmlns:a16="http://schemas.microsoft.com/office/drawing/2014/main" val="3939455336"/>
                    </a:ext>
                  </a:extLst>
                </a:gridCol>
                <a:gridCol w="1250257">
                  <a:extLst>
                    <a:ext uri="{9D8B030D-6E8A-4147-A177-3AD203B41FA5}">
                      <a16:colId xmlns:a16="http://schemas.microsoft.com/office/drawing/2014/main" val="2226907532"/>
                    </a:ext>
                  </a:extLst>
                </a:gridCol>
                <a:gridCol w="1250257">
                  <a:extLst>
                    <a:ext uri="{9D8B030D-6E8A-4147-A177-3AD203B41FA5}">
                      <a16:colId xmlns:a16="http://schemas.microsoft.com/office/drawing/2014/main" val="2853433740"/>
                    </a:ext>
                  </a:extLst>
                </a:gridCol>
                <a:gridCol w="1250257">
                  <a:extLst>
                    <a:ext uri="{9D8B030D-6E8A-4147-A177-3AD203B41FA5}">
                      <a16:colId xmlns:a16="http://schemas.microsoft.com/office/drawing/2014/main" val="1897229050"/>
                    </a:ext>
                  </a:extLst>
                </a:gridCol>
                <a:gridCol w="1250257">
                  <a:extLst>
                    <a:ext uri="{9D8B030D-6E8A-4147-A177-3AD203B41FA5}">
                      <a16:colId xmlns:a16="http://schemas.microsoft.com/office/drawing/2014/main" val="4290228433"/>
                    </a:ext>
                  </a:extLst>
                </a:gridCol>
                <a:gridCol w="1250257">
                  <a:extLst>
                    <a:ext uri="{9D8B030D-6E8A-4147-A177-3AD203B41FA5}">
                      <a16:colId xmlns:a16="http://schemas.microsoft.com/office/drawing/2014/main" val="1516975932"/>
                    </a:ext>
                  </a:extLst>
                </a:gridCol>
                <a:gridCol w="1250257">
                  <a:extLst>
                    <a:ext uri="{9D8B030D-6E8A-4147-A177-3AD203B41FA5}">
                      <a16:colId xmlns:a16="http://schemas.microsoft.com/office/drawing/2014/main" val="2183727549"/>
                    </a:ext>
                  </a:extLst>
                </a:gridCol>
              </a:tblGrid>
              <a:tr h="503194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dirty="0"/>
                        <a:t>Zdravotničtí pracovníci evidovaní v NZIS podle pracovních pozic**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 dirty="0">
                          <a:effectLst/>
                        </a:rPr>
                        <a:t>Počet zdravotnických pracovníků**</a:t>
                      </a:r>
                      <a:endParaRPr lang="cs-CZ" sz="12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Očkovaní celkem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S posilující dávkou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S ukončovací dávkou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Pouze s 1. dávkou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Prodělali onemocnění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Ostatní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36000" marR="36000" marT="0" marB="0" anchor="ctr"/>
                </a:tc>
                <a:extLst>
                  <a:ext uri="{0D108BD9-81ED-4DB2-BD59-A6C34878D82A}">
                    <a16:rowId xmlns:a16="http://schemas.microsoft.com/office/drawing/2014/main" val="3304470326"/>
                  </a:ext>
                </a:extLst>
              </a:tr>
              <a:tr h="354284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u="none" strike="noStrike" dirty="0">
                          <a:effectLst/>
                        </a:rPr>
                        <a:t>Lékaři </a:t>
                      </a:r>
                    </a:p>
                    <a:p>
                      <a:pPr algn="l" fontAlgn="ctr"/>
                      <a:r>
                        <a:rPr lang="cs-CZ" sz="1050" b="0" u="none" strike="noStrike" dirty="0">
                          <a:effectLst/>
                        </a:rPr>
                        <a:t>(včetně zubních lékařů)*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2 29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6 084 (88,1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9 165 (74,9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740 (12,9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9 (0,3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714 (3,3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495 (8,6 %)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51230907"/>
                  </a:ext>
                </a:extLst>
              </a:tr>
              <a:tr h="51016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u="none" strike="noStrike" dirty="0">
                          <a:effectLst/>
                        </a:rPr>
                        <a:t>Sestry </a:t>
                      </a:r>
                    </a:p>
                    <a:p>
                      <a:pPr algn="l" fontAlgn="ctr"/>
                      <a:r>
                        <a:rPr lang="cs-CZ" sz="1050" b="0" u="none" strike="noStrike" dirty="0">
                          <a:effectLst/>
                        </a:rPr>
                        <a:t>(§ 5 Všeobecná sestra, § 5a Dětská sestra, § 6 Porodní asistentka, § 21b Praktická sestra)*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5 29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8 382 (83,9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4 542 (61,3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 237 (22,1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03 (0,6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029 (9,5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885 (6,5 %)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212447989"/>
                  </a:ext>
                </a:extLst>
              </a:tr>
              <a:tr h="354284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u="none" strike="noStrike" dirty="0">
                          <a:effectLst/>
                        </a:rPr>
                        <a:t>Ostatní zdravotničtí pracovníci </a:t>
                      </a:r>
                    </a:p>
                    <a:p>
                      <a:pPr algn="l" fontAlgn="ctr"/>
                      <a:r>
                        <a:rPr lang="cs-CZ" sz="1050" b="0" u="none" strike="noStrike" dirty="0">
                          <a:effectLst/>
                        </a:rPr>
                        <a:t>(NLZP § 7 až § 42 kromě § 21b, farmaceuti)*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2 48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5 108 (81,2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2 009 (56,2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 589 (24,4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10 (0,6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453 (10,2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926 (8,6 %)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018325100"/>
                  </a:ext>
                </a:extLst>
              </a:tr>
              <a:tr h="36314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armaceuti</a:t>
                      </a:r>
                    </a:p>
                    <a:p>
                      <a:pPr algn="l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farmaceut, § 19 Farmaceutický asistent)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0000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 28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 406 (79,9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983 (55,9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341 (23,4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2 (0,6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397 (9,8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480 (10,4 %)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690077023"/>
                  </a:ext>
                </a:extLst>
              </a:tr>
              <a:tr h="3114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§ 36 Ošetřovatel</a:t>
                      </a:r>
                    </a:p>
                  </a:txBody>
                  <a:tcPr marL="180000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68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577 (80,5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075 (54,1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453 (25,6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9 (0,9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60 (11,6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46 (7,8 %)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152189762"/>
                  </a:ext>
                </a:extLst>
              </a:tr>
              <a:tr h="3114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§ 42 Sanitář</a:t>
                      </a:r>
                    </a:p>
                  </a:txBody>
                  <a:tcPr marL="180000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 85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 284 (82,3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 692 (56,8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448 (24,9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4 (0,6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606 (10,1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966 (7,6 %)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496871678"/>
                  </a:ext>
                </a:extLst>
              </a:tr>
              <a:tr h="3114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§ 18 Zdravotnický záchranář</a:t>
                      </a:r>
                    </a:p>
                  </a:txBody>
                  <a:tcPr marL="180000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54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950 (87,0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034 (66,8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93 (19,7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 (0,5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30 (7,3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2 (5,8 %)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849172008"/>
                  </a:ext>
                </a:extLst>
              </a:tr>
              <a:tr h="3114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§ 24 Fyzioterapeut</a:t>
                      </a:r>
                    </a:p>
                  </a:txBody>
                  <a:tcPr marL="180000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29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116 (76,5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740 (51,0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321 (25,0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5 (0,6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151 (12,4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030 (11,1 %)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946653829"/>
                  </a:ext>
                </a:extLst>
              </a:tr>
              <a:tr h="46234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aboratorní pracovníci</a:t>
                      </a:r>
                    </a:p>
                    <a:p>
                      <a:pPr algn="l" fontAlgn="ctr"/>
                      <a:r>
                        <a:rPr lang="cs-C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§ 8 Radiologický asistent, § 9 Zdravotní laborant, § 26 Odborný pracovník v laboratorních metodách a v přípravě léčivých přípravků, § 30 Laboratorní asistent, § 41 Autoptický laborant)</a:t>
                      </a:r>
                      <a:endParaRPr lang="cs-CZ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0000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 69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 138 (82,6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435 (57,4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623 (24,7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0 (0,5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501 (10,2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053 (7,2 %)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084958823"/>
                  </a:ext>
                </a:extLst>
              </a:tr>
              <a:tr h="3114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statní NLZP</a:t>
                      </a:r>
                    </a:p>
                  </a:txBody>
                  <a:tcPr marL="180000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 21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 297 (81,5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 970 (56,4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228 (24,6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9 (0,5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045 (9,6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875 (8,8 %)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924713135"/>
                  </a:ext>
                </a:extLst>
              </a:tr>
              <a:tr h="3114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u="none" strike="noStrike" dirty="0">
                          <a:effectLst/>
                        </a:rPr>
                        <a:t>CELKEM**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1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50 07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09 574 (83,8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55 716 (62,3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52 566 (21,0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 292 (0,5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1 196 (8,5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9 306 (7,7 %)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3417744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04678155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7785" y="0"/>
            <a:ext cx="7434501" cy="576000"/>
          </a:xfrm>
        </p:spPr>
        <p:txBody>
          <a:bodyPr/>
          <a:lstStyle/>
          <a:p>
            <a:r>
              <a:rPr lang="cs-CZ" dirty="0"/>
              <a:t>Očkovaní </a:t>
            </a:r>
            <a:r>
              <a:rPr lang="cs-CZ" u="sng" dirty="0"/>
              <a:t>aktivní</a:t>
            </a:r>
            <a:r>
              <a:rPr lang="cs-CZ" dirty="0"/>
              <a:t> zdravotničtí pracovníci</a:t>
            </a:r>
          </a:p>
        </p:txBody>
      </p:sp>
      <p:sp>
        <p:nvSpPr>
          <p:cNvPr id="9" name="Obdélník 8">
            <a:extLst>
              <a:ext uri="{FF2B5EF4-FFF2-40B4-BE49-F238E27FC236}">
                <a16:creationId xmlns:a16="http://schemas.microsoft.com/office/drawing/2014/main" id="{B5F8F24A-407C-46C2-BF8F-7094A798CF34}"/>
              </a:ext>
            </a:extLst>
          </p:cNvPr>
          <p:cNvSpPr/>
          <p:nvPr/>
        </p:nvSpPr>
        <p:spPr>
          <a:xfrm>
            <a:off x="311971" y="5699414"/>
            <a:ext cx="11454102" cy="9387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 Zákon č. 96/2004 Sb. o podmínkách získávání a uznávání způsobilosti k výkonu nelékařských zdravotnických povolání a k výkonu činnosti souvisejících s poskytováním zdravotní péče a o změně některých souvisejících zákonů (zákon o nelékařských zdravotnických povoláních); Zákona č. 95/2004 Sb. o podmínkách získávání a uznávání odborné způsobilosti a specializované způsobilosti k výkonu zdravotnického povolání lékaře, zubního lékaře a farmaceuta.</a:t>
            </a:r>
          </a:p>
          <a:p>
            <a:pPr>
              <a:defRPr/>
            </a:pPr>
            <a:r>
              <a:rPr lang="cs-CZ" sz="1100" dirty="0">
                <a:solidFill>
                  <a:srgbClr val="000000"/>
                </a:solidFill>
              </a:rPr>
              <a:t>** Počet zdravotnických pracovníků nahlášených do NZIS (Národní registr zdravotnických pracovníků – NRZP) poskytovateli zdravotních služeb jako aktivní v období od 1.9.2021 do současnosti. Jedna osoba může být evidována na více typech pracovních pozic uvedených ve výstupu, v celkovém součtu je zahrnuta pouze jednou.</a:t>
            </a:r>
          </a:p>
        </p:txBody>
      </p:sp>
      <p:sp>
        <p:nvSpPr>
          <p:cNvPr id="8" name="TextovéPole 7"/>
          <p:cNvSpPr txBox="1"/>
          <p:nvPr/>
        </p:nvSpPr>
        <p:spPr>
          <a:xfrm>
            <a:off x="337535" y="592671"/>
            <a:ext cx="1145410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dirty="0"/>
              <a:t>Počet zdravotnických pracovníků (ZP) dle hlášení povinných subjektů do NRZP** (vzdělávací instituce, poskytovatelé). Celkový počet ZP zahrnuje osoby s odpovídající odbornou způsobilostí pro výkony ZP* a žijící k danému datu. V této analýze jsou zahrnuti ZP, u kterých poskytovatelé zdravotních služeb nahlásili jejich aktivní výkon zaměstnání. </a:t>
            </a:r>
          </a:p>
        </p:txBody>
      </p:sp>
      <p:sp>
        <p:nvSpPr>
          <p:cNvPr id="12" name="TextBox 6">
            <a:extLst>
              <a:ext uri="{FF2B5EF4-FFF2-40B4-BE49-F238E27FC236}">
                <a16:creationId xmlns:a16="http://schemas.microsoft.com/office/drawing/2014/main" id="{7A968ED8-B7A5-4B68-AF27-DAE3E4FFEDCD}"/>
              </a:ext>
            </a:extLst>
          </p:cNvPr>
          <p:cNvSpPr txBox="1"/>
          <p:nvPr/>
        </p:nvSpPr>
        <p:spPr>
          <a:xfrm>
            <a:off x="6096000" y="125783"/>
            <a:ext cx="200977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cs-CZ" sz="1600" b="1" dirty="0">
                <a:solidFill>
                  <a:srgbClr val="FFFFFF"/>
                </a:solidFill>
              </a:rPr>
              <a:t>Stav k 4. 3. 2022</a:t>
            </a:r>
          </a:p>
        </p:txBody>
      </p:sp>
      <p:sp>
        <p:nvSpPr>
          <p:cNvPr id="14" name="Obdélník 13">
            <a:extLst>
              <a:ext uri="{FF2B5EF4-FFF2-40B4-BE49-F238E27FC236}">
                <a16:creationId xmlns:a16="http://schemas.microsoft.com/office/drawing/2014/main" id="{F04ED3AE-021E-41E6-820F-16896A92FE56}"/>
              </a:ext>
            </a:extLst>
          </p:cNvPr>
          <p:cNvSpPr/>
          <p:nvPr/>
        </p:nvSpPr>
        <p:spPr>
          <a:xfrm>
            <a:off x="1733551" y="6594621"/>
            <a:ext cx="8280399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Národní zdravotnický informační sytém (NZIS), ÚZIS ČR; Informační systém infekční nemoci (ISIN) </a:t>
            </a:r>
          </a:p>
        </p:txBody>
      </p:sp>
      <p:graphicFrame>
        <p:nvGraphicFramePr>
          <p:cNvPr id="10" name="Graf 9">
            <a:extLst>
              <a:ext uri="{FF2B5EF4-FFF2-40B4-BE49-F238E27FC236}">
                <a16:creationId xmlns:a16="http://schemas.microsoft.com/office/drawing/2014/main" id="{57D8B5EC-D4C4-4142-B9B3-D668437D7507}"/>
              </a:ext>
            </a:extLst>
          </p:cNvPr>
          <p:cNvGraphicFramePr/>
          <p:nvPr/>
        </p:nvGraphicFramePr>
        <p:xfrm>
          <a:off x="847725" y="981075"/>
          <a:ext cx="10696575" cy="49244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5" name="Tabulka 4">
            <a:extLst>
              <a:ext uri="{FF2B5EF4-FFF2-40B4-BE49-F238E27FC236}">
                <a16:creationId xmlns:a16="http://schemas.microsoft.com/office/drawing/2014/main" id="{85E273B3-595D-4506-8111-3C0DC2F8EF9D}"/>
              </a:ext>
            </a:extLst>
          </p:cNvPr>
          <p:cNvGraphicFramePr>
            <a:graphicFrameLocks noGrp="1"/>
          </p:cNvGraphicFramePr>
          <p:nvPr/>
        </p:nvGraphicFramePr>
        <p:xfrm>
          <a:off x="11229975" y="1724026"/>
          <a:ext cx="824515" cy="3975389"/>
        </p:xfrm>
        <a:graphic>
          <a:graphicData uri="http://schemas.openxmlformats.org/drawingml/2006/table">
            <a:tbl>
              <a:tblPr firstRow="1" lastRow="1" bandRow="1"/>
              <a:tblGrid>
                <a:gridCol w="824515">
                  <a:extLst>
                    <a:ext uri="{9D8B030D-6E8A-4147-A177-3AD203B41FA5}">
                      <a16:colId xmlns:a16="http://schemas.microsoft.com/office/drawing/2014/main" val="2631467471"/>
                    </a:ext>
                  </a:extLst>
                </a:gridCol>
              </a:tblGrid>
              <a:tr h="36139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 = 52 29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90562307"/>
                  </a:ext>
                </a:extLst>
              </a:tr>
              <a:tr h="36139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 = 105 29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25743896"/>
                  </a:ext>
                </a:extLst>
              </a:tr>
              <a:tr h="36139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 = 92 48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45828545"/>
                  </a:ext>
                </a:extLst>
              </a:tr>
              <a:tr h="36139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 = 14 28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0186760"/>
                  </a:ext>
                </a:extLst>
              </a:tr>
              <a:tr h="36139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 = 5 68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27157132"/>
                  </a:ext>
                </a:extLst>
              </a:tr>
              <a:tr h="36139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 = 25 85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70659329"/>
                  </a:ext>
                </a:extLst>
              </a:tr>
              <a:tr h="36139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 = 4 54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826878"/>
                  </a:ext>
                </a:extLst>
              </a:tr>
              <a:tr h="36139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 = 9 29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98285988"/>
                  </a:ext>
                </a:extLst>
              </a:tr>
              <a:tr h="36139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 = 14 69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54712990"/>
                  </a:ext>
                </a:extLst>
              </a:tr>
              <a:tr h="36139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 = 21 21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71670276"/>
                  </a:ext>
                </a:extLst>
              </a:tr>
              <a:tr h="36139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 = 250 07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2601955"/>
                  </a:ext>
                </a:extLst>
              </a:tr>
            </a:tbl>
          </a:graphicData>
        </a:graphic>
      </p:graphicFrame>
      <p:graphicFrame>
        <p:nvGraphicFramePr>
          <p:cNvPr id="15" name="Tabulka 14">
            <a:extLst>
              <a:ext uri="{FF2B5EF4-FFF2-40B4-BE49-F238E27FC236}">
                <a16:creationId xmlns:a16="http://schemas.microsoft.com/office/drawing/2014/main" id="{4AA833D1-7B4A-4D1C-A2B1-06653D5E7670}"/>
              </a:ext>
            </a:extLst>
          </p:cNvPr>
          <p:cNvGraphicFramePr>
            <a:graphicFrameLocks noGrp="1"/>
          </p:cNvGraphicFramePr>
          <p:nvPr/>
        </p:nvGraphicFramePr>
        <p:xfrm>
          <a:off x="257786" y="1724025"/>
          <a:ext cx="2342539" cy="397538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342539">
                  <a:extLst>
                    <a:ext uri="{9D8B030D-6E8A-4147-A177-3AD203B41FA5}">
                      <a16:colId xmlns:a16="http://schemas.microsoft.com/office/drawing/2014/main" val="2651665098"/>
                    </a:ext>
                  </a:extLst>
                </a:gridCol>
              </a:tblGrid>
              <a:tr h="361399">
                <a:tc>
                  <a:txBody>
                    <a:bodyPr/>
                    <a:lstStyle/>
                    <a:p>
                      <a:pPr algn="l" fontAlgn="ctr">
                        <a:lnSpc>
                          <a:spcPts val="900"/>
                        </a:lnSpc>
                      </a:pPr>
                      <a:r>
                        <a:rPr lang="cs-CZ" sz="1200" b="1" u="none" strike="noStrike" dirty="0">
                          <a:effectLst/>
                        </a:rPr>
                        <a:t>Lékaři </a:t>
                      </a:r>
                    </a:p>
                    <a:p>
                      <a:pPr algn="l" fontAlgn="ctr">
                        <a:lnSpc>
                          <a:spcPts val="900"/>
                        </a:lnSpc>
                      </a:pPr>
                      <a:r>
                        <a:rPr lang="cs-CZ" sz="800" b="0" u="none" strike="noStrike" dirty="0">
                          <a:effectLst/>
                        </a:rPr>
                        <a:t>(včetně zubních lékařů)*</a:t>
                      </a:r>
                      <a:endParaRPr lang="cs-CZ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1230907"/>
                  </a:ext>
                </a:extLst>
              </a:tr>
              <a:tr h="361399">
                <a:tc>
                  <a:txBody>
                    <a:bodyPr/>
                    <a:lstStyle/>
                    <a:p>
                      <a:pPr algn="l" fontAlgn="ctr">
                        <a:lnSpc>
                          <a:spcPts val="900"/>
                        </a:lnSpc>
                      </a:pPr>
                      <a:r>
                        <a:rPr lang="cs-CZ" sz="1200" b="1" u="none" strike="noStrike" dirty="0">
                          <a:effectLst/>
                        </a:rPr>
                        <a:t>Sestry </a:t>
                      </a:r>
                    </a:p>
                    <a:p>
                      <a:pPr algn="l" fontAlgn="ctr">
                        <a:lnSpc>
                          <a:spcPts val="900"/>
                        </a:lnSpc>
                      </a:pPr>
                      <a:r>
                        <a:rPr lang="cs-CZ" sz="800" b="0" u="none" strike="noStrike" dirty="0">
                          <a:effectLst/>
                        </a:rPr>
                        <a:t>(§ 5 Všeobecná sestra, § 5a Dětská sestra, § 6 Porodní asistentka, § 21b Praktická sestra)*</a:t>
                      </a:r>
                      <a:endParaRPr lang="cs-CZ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12447989"/>
                  </a:ext>
                </a:extLst>
              </a:tr>
              <a:tr h="361399">
                <a:tc>
                  <a:txBody>
                    <a:bodyPr/>
                    <a:lstStyle/>
                    <a:p>
                      <a:pPr algn="l" fontAlgn="ctr">
                        <a:lnSpc>
                          <a:spcPts val="900"/>
                        </a:lnSpc>
                      </a:pPr>
                      <a:r>
                        <a:rPr lang="cs-CZ" sz="1200" b="1" u="none" strike="noStrike" dirty="0">
                          <a:effectLst/>
                        </a:rPr>
                        <a:t>Ostatní zdravotničtí pracovníci </a:t>
                      </a:r>
                    </a:p>
                    <a:p>
                      <a:pPr algn="l" fontAlgn="ctr">
                        <a:lnSpc>
                          <a:spcPts val="900"/>
                        </a:lnSpc>
                      </a:pPr>
                      <a:r>
                        <a:rPr lang="cs-CZ" sz="800" b="0" u="none" strike="noStrike" dirty="0">
                          <a:effectLst/>
                        </a:rPr>
                        <a:t>(NLZP § 7 až § 42 kromě § 21b, farmaceuti)*</a:t>
                      </a:r>
                      <a:endParaRPr lang="cs-CZ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18325100"/>
                  </a:ext>
                </a:extLst>
              </a:tr>
              <a:tr h="361399">
                <a:tc>
                  <a:txBody>
                    <a:bodyPr/>
                    <a:lstStyle/>
                    <a:p>
                      <a:pPr algn="l" fontAlgn="ctr">
                        <a:lnSpc>
                          <a:spcPts val="900"/>
                        </a:lnSpc>
                      </a:pPr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armaceuti</a:t>
                      </a:r>
                    </a:p>
                    <a:p>
                      <a:pPr algn="l" fontAlgn="ctr">
                        <a:lnSpc>
                          <a:spcPts val="900"/>
                        </a:lnSpc>
                      </a:pPr>
                      <a:r>
                        <a:rPr lang="cs-CZ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farmaceut, § 19 Farmaceutický asistent)</a:t>
                      </a:r>
                    </a:p>
                  </a:txBody>
                  <a:tcPr marL="180000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90077023"/>
                  </a:ext>
                </a:extLst>
              </a:tr>
              <a:tr h="361399">
                <a:tc>
                  <a:txBody>
                    <a:bodyPr/>
                    <a:lstStyle/>
                    <a:p>
                      <a:pPr algn="l" fontAlgn="ctr">
                        <a:lnSpc>
                          <a:spcPts val="900"/>
                        </a:lnSpc>
                      </a:pPr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§ 36 Ošetřovatel</a:t>
                      </a:r>
                    </a:p>
                  </a:txBody>
                  <a:tcPr marL="180000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52189762"/>
                  </a:ext>
                </a:extLst>
              </a:tr>
              <a:tr h="361399">
                <a:tc>
                  <a:txBody>
                    <a:bodyPr/>
                    <a:lstStyle/>
                    <a:p>
                      <a:pPr algn="l" fontAlgn="ctr">
                        <a:lnSpc>
                          <a:spcPts val="900"/>
                        </a:lnSpc>
                      </a:pPr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§ 42 Sanitář</a:t>
                      </a:r>
                    </a:p>
                  </a:txBody>
                  <a:tcPr marL="180000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96871678"/>
                  </a:ext>
                </a:extLst>
              </a:tr>
              <a:tr h="361399">
                <a:tc>
                  <a:txBody>
                    <a:bodyPr/>
                    <a:lstStyle/>
                    <a:p>
                      <a:pPr algn="l" fontAlgn="ctr">
                        <a:lnSpc>
                          <a:spcPts val="900"/>
                        </a:lnSpc>
                      </a:pPr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§ 18 Zdravotnický záchranář</a:t>
                      </a:r>
                    </a:p>
                  </a:txBody>
                  <a:tcPr marL="180000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49172008"/>
                  </a:ext>
                </a:extLst>
              </a:tr>
              <a:tr h="361399">
                <a:tc>
                  <a:txBody>
                    <a:bodyPr/>
                    <a:lstStyle/>
                    <a:p>
                      <a:pPr algn="l" fontAlgn="ctr">
                        <a:lnSpc>
                          <a:spcPts val="900"/>
                        </a:lnSpc>
                      </a:pPr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§ 24 Fyzioterapeut</a:t>
                      </a:r>
                    </a:p>
                  </a:txBody>
                  <a:tcPr marL="180000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46653829"/>
                  </a:ext>
                </a:extLst>
              </a:tr>
              <a:tr h="361399">
                <a:tc>
                  <a:txBody>
                    <a:bodyPr/>
                    <a:lstStyle/>
                    <a:p>
                      <a:pPr algn="l" fontAlgn="ctr">
                        <a:lnSpc>
                          <a:spcPts val="900"/>
                        </a:lnSpc>
                      </a:pPr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aboratorní pracovníci</a:t>
                      </a:r>
                    </a:p>
                  </a:txBody>
                  <a:tcPr marL="180000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84958823"/>
                  </a:ext>
                </a:extLst>
              </a:tr>
              <a:tr h="361399">
                <a:tc>
                  <a:txBody>
                    <a:bodyPr/>
                    <a:lstStyle/>
                    <a:p>
                      <a:pPr algn="l" fontAlgn="ctr">
                        <a:lnSpc>
                          <a:spcPts val="900"/>
                        </a:lnSpc>
                      </a:pPr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statní NLZP</a:t>
                      </a:r>
                    </a:p>
                  </a:txBody>
                  <a:tcPr marL="180000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4713135"/>
                  </a:ext>
                </a:extLst>
              </a:tr>
              <a:tr h="361399">
                <a:tc>
                  <a:txBody>
                    <a:bodyPr/>
                    <a:lstStyle/>
                    <a:p>
                      <a:pPr algn="l" fontAlgn="ctr">
                        <a:lnSpc>
                          <a:spcPts val="900"/>
                        </a:lnSpc>
                      </a:pPr>
                      <a:r>
                        <a:rPr lang="cs-CZ" sz="1200" b="1" u="none" strike="noStrike" dirty="0">
                          <a:effectLst/>
                        </a:rPr>
                        <a:t>CELKEM**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3417744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57551777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NGAGE" val="{&quot;SavedSwatch&quot;:&quot;-16748873|-10780376|-3468525|-5151986|-9539986|Markido&quot;,&quot;Id&quot;:&quot;60abf0963433422b508f8030&quot;,&quot;SmartGridHorizontal&quot;:0,&quot;LinkedExcelSources&quot;:{},&quot;LinkedProjectSources&quot;:{},&quot;FlowConfig&quot;:{&quot;Canvas&quot;:{&quot;Slide&quot;:-1,&quot;Width&quot;:0,&quot;Height&quot;:0},&quot;Timeline&quot;:{&quot;Actions&quot;:[]}},&quot;LinkedSlideMergeSources&quot;:{},&quot;LinkedSharePointSlideMergeSources&quot;:{}}"/>
  <p:tag name="SLIDEFAB_CUSTOMSORTGLOBALLY" val="Tru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SHAPECONDITIONMETACTIONDELETE" val="True"/>
  <p:tag name="SLIDEFAB_EXPORTMODE" val="4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SHAPECONDITIONMETACTIONDELETE" val="True"/>
  <p:tag name="SLIDEFAB_EXPORTMODE" val="4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7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SHAPECONDITIONMETACTIONDELETE" val="False"/>
  <p:tag name="SLIDEFAB_EXPORTMODE" val="2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7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SHAPECONDITIONMETACTIONDELETE" val="True"/>
  <p:tag name="SLIDEFAB_EXPORTMODE" val="4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SHAPECONDITIONMETACTIONDELETE" val="True"/>
  <p:tag name="SLIDEFAB_EXPORTMODE" val="4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7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SHAPECONDITIONMETACTIONDELETE" val="False"/>
  <p:tag name="SLIDEFAB_EXPORTMODE" val="2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SHAPECONDITIONMETACTIONDELETE" val="True"/>
  <p:tag name="SLIDEFAB_EXPORTMODE" val="4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SHAPECONDITIONMETACTIONDELETE" val="True"/>
  <p:tag name="SLIDEFAB_EXPORTMODE" val="4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SHAPECONDITIONMETACTIONDELETE" val="True"/>
  <p:tag name="SLIDEFAB_EXPORTMODE" val="4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7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SHAPECONDITIONMETACTIONDELETE" val="False"/>
  <p:tag name="SLIDEFAB_EXPORTMODE" val="2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SHAPECONDITIONMETACTIONDELETE" val="True"/>
  <p:tag name="SLIDEFAB_EXPORTMODE" val="4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7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SHAPECONDITIONMETACTIONDELETE" val="False"/>
  <p:tag name="SLIDEFAB_EXPORTMODE" val="2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heme/theme1.xml><?xml version="1.0" encoding="utf-8"?>
<a:theme xmlns:a="http://schemas.openxmlformats.org/drawingml/2006/main" name="Motiv Office">
  <a:themeElements>
    <a:clrScheme name="COVID barvy">
      <a:dk1>
        <a:srgbClr val="000000"/>
      </a:dk1>
      <a:lt1>
        <a:srgbClr val="FFFFFF"/>
      </a:lt1>
      <a:dk2>
        <a:srgbClr val="D31145"/>
      </a:dk2>
      <a:lt2>
        <a:srgbClr val="FFFFFF"/>
      </a:lt2>
      <a:accent1>
        <a:srgbClr val="D31145"/>
      </a:accent1>
      <a:accent2>
        <a:srgbClr val="305983"/>
      </a:accent2>
      <a:accent3>
        <a:srgbClr val="00CD61"/>
      </a:accent3>
      <a:accent4>
        <a:srgbClr val="4010B7"/>
      </a:accent4>
      <a:accent5>
        <a:srgbClr val="E8EAEA"/>
      </a:accent5>
      <a:accent6>
        <a:srgbClr val="690923"/>
      </a:accent6>
      <a:hlink>
        <a:srgbClr val="FFFFFF"/>
      </a:hlink>
      <a:folHlink>
        <a:srgbClr val="FF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zentace2" id="{2F500C3B-2BAF-4CA5-849A-B1EC376A25DB}" vid="{C99570C5-ACCF-4382-8246-136F83C28052}"/>
    </a:ext>
  </a:extLst>
</a:theme>
</file>

<file path=ppt/theme/theme2.xml><?xml version="1.0" encoding="utf-8"?>
<a:theme xmlns:a="http://schemas.openxmlformats.org/drawingml/2006/main" name="3_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1_Motiv Office">
  <a:themeElements>
    <a:clrScheme name="COVID barvy">
      <a:dk1>
        <a:srgbClr val="000000"/>
      </a:dk1>
      <a:lt1>
        <a:srgbClr val="FFFFFF"/>
      </a:lt1>
      <a:dk2>
        <a:srgbClr val="D31145"/>
      </a:dk2>
      <a:lt2>
        <a:srgbClr val="FFFFFF"/>
      </a:lt2>
      <a:accent1>
        <a:srgbClr val="D31145"/>
      </a:accent1>
      <a:accent2>
        <a:srgbClr val="305983"/>
      </a:accent2>
      <a:accent3>
        <a:srgbClr val="00CD61"/>
      </a:accent3>
      <a:accent4>
        <a:srgbClr val="4010B7"/>
      </a:accent4>
      <a:accent5>
        <a:srgbClr val="E8EAEA"/>
      </a:accent5>
      <a:accent6>
        <a:srgbClr val="690923"/>
      </a:accent6>
      <a:hlink>
        <a:srgbClr val="FFFFFF"/>
      </a:hlink>
      <a:folHlink>
        <a:srgbClr val="FF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OVID-web-sablona.potx" id="{C38994A9-F061-444B-9E05-9BEC267D622E}" vid="{A910D504-DA16-416F-8B23-CC286EF2F513}"/>
    </a:ext>
  </a:extLst>
</a:theme>
</file>

<file path=ppt/theme/theme4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2722</TotalTime>
  <Words>9550</Words>
  <Application>Microsoft Office PowerPoint</Application>
  <PresentationFormat>Širokoúhlá obrazovka</PresentationFormat>
  <Paragraphs>2124</Paragraphs>
  <Slides>38</Slides>
  <Notes>27</Notes>
  <HiddenSlides>0</HiddenSlides>
  <MMClips>0</MMClips>
  <ScaleCrop>false</ScaleCrop>
  <HeadingPairs>
    <vt:vector size="6" baseType="variant">
      <vt:variant>
        <vt:lpstr>Použitá písma</vt:lpstr>
      </vt:variant>
      <vt:variant>
        <vt:i4>3</vt:i4>
      </vt:variant>
      <vt:variant>
        <vt:lpstr>Motiv</vt:lpstr>
      </vt:variant>
      <vt:variant>
        <vt:i4>3</vt:i4>
      </vt:variant>
      <vt:variant>
        <vt:lpstr>Nadpisy snímků</vt:lpstr>
      </vt:variant>
      <vt:variant>
        <vt:i4>38</vt:i4>
      </vt:variant>
    </vt:vector>
  </HeadingPairs>
  <TitlesOfParts>
    <vt:vector size="44" baseType="lpstr">
      <vt:lpstr>Calibri Light</vt:lpstr>
      <vt:lpstr>Arial</vt:lpstr>
      <vt:lpstr>Calibri</vt:lpstr>
      <vt:lpstr>Motiv Office</vt:lpstr>
      <vt:lpstr>3_Motiv Office</vt:lpstr>
      <vt:lpstr>1_Motiv Office</vt:lpstr>
      <vt:lpstr>Prezentace aplikace PowerPoint</vt:lpstr>
      <vt:lpstr>Prezentace aplikace PowerPoint</vt:lpstr>
      <vt:lpstr>Očkování zdravotnických pracovníků </vt:lpstr>
      <vt:lpstr>Očkovaní zdravotničtí pracovníci celkem</vt:lpstr>
      <vt:lpstr>Očkovaní aktivní zdravotničtí pracovníci</vt:lpstr>
      <vt:lpstr>Očkování zdravotnických pracovníků – počty očkovaných v čase</vt:lpstr>
      <vt:lpstr>Vakcinace posilující dávkou</vt:lpstr>
      <vt:lpstr>Očkovaní aktivní zdravotničtí pracovníci</vt:lpstr>
      <vt:lpstr>Očkovaní aktivní zdravotničtí pracovníci</vt:lpstr>
      <vt:lpstr>Očkování zdravotnických pracovníků </vt:lpstr>
      <vt:lpstr>Očkovaní zdravotníci v nemocnicích akutní lůžkové péče a ZZS</vt:lpstr>
      <vt:lpstr>Očkování zdravotnických pracovníků </vt:lpstr>
      <vt:lpstr>Přehled povolání u COVID-19 pozitivních ostatních zdravotnických pracovníků za období 01/2021 – 03/2022</vt:lpstr>
      <vt:lpstr>Přehled povolání u COVID-19 pozitivních ostatních zdravotnických pracovníků za období 10/2021 – 03/2022</vt:lpstr>
      <vt:lpstr>Přehled povolání u COVID-19 pozitivních ostatních zdravotnických pracovníků za období 01-03/2022</vt:lpstr>
      <vt:lpstr>Očkovaní aktivní zdravotničtí pracovníci</vt:lpstr>
      <vt:lpstr>Očkovaní NLZP v nemocnicích akutní lůžkové péče a ZZS</vt:lpstr>
      <vt:lpstr>Očkovaní lékaři* podle typu zdravotnického zařízení</vt:lpstr>
      <vt:lpstr>Očkované sestry* podle typu zdravotnického zařízení</vt:lpstr>
      <vt:lpstr>Očkovaní ostatní ZP* podle typu zdravotnického zařízení</vt:lpstr>
      <vt:lpstr>Prezentace aplikace PowerPoint</vt:lpstr>
      <vt:lpstr>Počty pracovníků ve zdravotnictví s nákazou COVID-19</vt:lpstr>
      <vt:lpstr>Počty pracovníků ve zdravotnictví s nákazou COVID-19</vt:lpstr>
      <vt:lpstr>Prezentace aplikace PowerPoint</vt:lpstr>
      <vt:lpstr>Počty COVID-19 pozitivních na 100 000 osob v populaci lékařů</vt:lpstr>
      <vt:lpstr>Prezentace aplikace PowerPoint</vt:lpstr>
      <vt:lpstr>Počty COVID-19 pozitivních na 100 000 osob v populaci sester</vt:lpstr>
      <vt:lpstr>Prezentace aplikace PowerPoint</vt:lpstr>
      <vt:lpstr>Počty COVID-19 pozitivních na 100 000 osob v populaci ostatních ZP</vt:lpstr>
      <vt:lpstr>Prezentace aplikace PowerPoint</vt:lpstr>
      <vt:lpstr>Počty pracovníků ve zdravotnictví s nákazou COVID-19</vt:lpstr>
      <vt:lpstr>Počty pracovníků ve zdravotnictví (ZP) s nákazou COVID-19</vt:lpstr>
      <vt:lpstr>Prezentace aplikace PowerPoint</vt:lpstr>
      <vt:lpstr>Počet nových případů COVID-19 na 100 tis. dané kategorie v populaci ZP celkem </vt:lpstr>
      <vt:lpstr>Prezentace aplikace PowerPoint</vt:lpstr>
      <vt:lpstr>Prezentace aplikace PowerPoint</vt:lpstr>
      <vt:lpstr>Počty nově COVID-19 pozitivních pracovníků  v zařízeních sociálních služeb</vt:lpstr>
      <vt:lpstr>Počty COVID-19 pozitivních na 100 000 osob v populaci pracovníků v sociálních službách*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otiepidemický systém ČR PES</dc:title>
  <dc:creator>Martin Komenda</dc:creator>
  <cp:lastModifiedBy>Dušek Ladislav prof. RNDr. Ph.D.</cp:lastModifiedBy>
  <cp:revision>869</cp:revision>
  <dcterms:created xsi:type="dcterms:W3CDTF">2020-11-11T17:36:28Z</dcterms:created>
  <dcterms:modified xsi:type="dcterms:W3CDTF">2022-03-06T15:20:44Z</dcterms:modified>
</cp:coreProperties>
</file>